
<file path=[Content_Types].xml><?xml version="1.0" encoding="utf-8"?>
<Types xmlns="http://schemas.openxmlformats.org/package/2006/content-types">
  <Default Extension="bin"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bin" ContentType="image/png"/>
  <Override PartName="/ppt/media/image3.bin" ContentType="image/png"/>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media/image4.bin" ContentType="image/png"/>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media/image5.bin" ContentType="image/png"/>
  <Override PartName="/ppt/media/image6.bin" ContentType="image/svg+xml"/>
  <Override PartName="/ppt/media/image7.bin" ContentType="image/png"/>
  <Override PartName="/ppt/media/image8.bin" ContentType="image/svg+xml"/>
  <Override PartName="/ppt/tags/tag14.xml" ContentType="application/vnd.openxmlformats-officedocument.presentationml.tags+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5.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media/image9.bin" ContentType="image/png"/>
  <Override PartName="/ppt/media/image10.bin" ContentType="image/svg+xml"/>
  <Override PartName="/ppt/media/image11.bin" ContentType="image/png"/>
  <Override PartName="/ppt/media/image12.bin" ContentType="image/svg+xml"/>
  <Override PartName="/ppt/media/image13.bin" ContentType="image/png"/>
  <Override PartName="/ppt/media/image14.bin" ContentType="image/svg+xml"/>
  <Override PartName="/ppt/media/image15.bin" ContentType="image/png"/>
  <Override PartName="/ppt/media/image16.bin" ContentType="image/svg+xml"/>
  <Override PartName="/ppt/tags/tag16.xml" ContentType="application/vnd.openxmlformats-officedocument.presentationml.tags+xml"/>
  <Override PartName="/ppt/notesSlides/notesSlide9.xml" ContentType="application/vnd.openxmlformats-officedocument.presentationml.notesSlide+xml"/>
  <Override PartName="/ppt/media/image17.bin" ContentType="image/png"/>
  <Override PartName="/ppt/tags/tag17.xml" ContentType="application/vnd.openxmlformats-officedocument.presentationml.tags+xml"/>
  <Override PartName="/ppt/notesSlides/notesSlide10.xml" ContentType="application/vnd.openxmlformats-officedocument.presentationml.notesSlide+xml"/>
  <Override PartName="/ppt/media/image18.bin" ContentType="image/png"/>
  <Override PartName="/ppt/tags/tag18.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media/image19.bin" ContentType="image/png"/>
  <Override PartName="/ppt/media/image20.bin" ContentType="image/svg+xml"/>
  <Override PartName="/ppt/media/image21.bin" ContentType="image/png"/>
  <Override PartName="/ppt/media/image22.bin" ContentType="image/svg+xml"/>
  <Override PartName="/ppt/media/image23.bin" ContentType="image/png"/>
  <Override PartName="/ppt/media/image24.bin" ContentType="image/svg+xml"/>
  <Override PartName="/ppt/tags/tag19.xml" ContentType="application/vnd.openxmlformats-officedocument.presentationml.tags+xml"/>
  <Override PartName="/ppt/notesSlides/notesSlide11.xml" ContentType="application/vnd.openxmlformats-officedocument.presentationml.notesSlide+xml"/>
  <Override PartName="/ppt/media/image25.bin" ContentType="image/png"/>
  <Override PartName="/ppt/tags/tag20.xml" ContentType="application/vnd.openxmlformats-officedocument.presentationml.tags+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media/image26.bin" ContentType="image/png"/>
  <Override PartName="/ppt/media/image27.bin" ContentType="image/svg+xml"/>
  <Override PartName="/ppt/media/image28.bin" ContentType="image/png"/>
  <Override PartName="/ppt/media/image29.bin" ContentType="image/svg+xml"/>
  <Override PartName="/ppt/media/image30.bin" ContentType="image/png"/>
  <Override PartName="/ppt/media/image31.bin" ContentType="image/svg+xml"/>
  <Override PartName="/ppt/media/image32.bin" ContentType="image/png"/>
  <Override PartName="/ppt/media/image33.bin" ContentType="image/svg+xml"/>
  <Override PartName="/ppt/tags/tag21.xml" ContentType="application/vnd.openxmlformats-officedocument.presentationml.tags+xml"/>
  <Override PartName="/ppt/notesSlides/notesSlide13.xml" ContentType="application/vnd.openxmlformats-officedocument.presentationml.notesSlide+xml"/>
  <Override PartName="/ppt/media/image34.bin" ContentType="image/png"/>
  <Override PartName="/ppt/tags/tag22.xml" ContentType="application/vnd.openxmlformats-officedocument.presentationml.tags+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media/image35.bin" ContentType="image/png"/>
  <Override PartName="/ppt/media/image36.bin" ContentType="image/svg+xml"/>
  <Override PartName="/ppt/media/image37.bin" ContentType="image/png"/>
  <Override PartName="/ppt/media/image38.bin" ContentType="image/svg+xml"/>
  <Override PartName="/ppt/media/image39.bin" ContentType="image/png"/>
  <Override PartName="/ppt/media/image40.bin" ContentType="image/svg+xml"/>
  <Override PartName="/ppt/tags/tag25.xml" ContentType="application/vnd.openxmlformats-officedocument.presentationml.tags+xml"/>
  <Override PartName="/ppt/notesSlides/notesSlide17.xml" ContentType="application/vnd.openxmlformats-officedocument.presentationml.notesSlide+xml"/>
  <Override PartName="/ppt/media/image41.bin" ContentType="image/png"/>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8.xml" ContentType="application/vnd.openxmlformats-officedocument.presentationml.notesSlide+xml"/>
  <Override PartName="/ppt/media/image42.bin" ContentType="image/png"/>
  <Override PartName="/ppt/tags/tag29.xml" ContentType="application/vnd.openxmlformats-officedocument.presentationml.tags+xml"/>
  <Override PartName="/ppt/notesSlides/notesSlide1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0.xml" ContentType="application/vnd.openxmlformats-officedocument.presentationml.tags+xml"/>
  <Override PartName="/ppt/tags/tag31.xml" ContentType="application/vnd.openxmlformats-officedocument.presentationml.tags+xml"/>
  <Override PartName="/ppt/notesSlides/notesSlide2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media/image43.bin" ContentType="image/png"/>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media/image44.bin" ContentType="image/png"/>
  <Override PartName="/ppt/tags/tag44.xml" ContentType="application/vnd.openxmlformats-officedocument.presentationml.tags+xml"/>
  <Override PartName="/ppt/tags/tag45.xml" ContentType="application/vnd.openxmlformats-officedocument.presentationml.tags+xml"/>
  <Override PartName="/ppt/notesSlides/notesSlide21.xml" ContentType="application/vnd.openxmlformats-officedocument.presentationml.notesSlide+xml"/>
  <Override PartName="/ppt/media/image45.bin" ContentType="image/jpeg"/>
  <Override PartName="/ppt/tags/tag46.xml" ContentType="application/vnd.openxmlformats-officedocument.presentationml.tags+xml"/>
  <Override PartName="/ppt/tags/tag47.xml" ContentType="application/vnd.openxmlformats-officedocument.presentationml.tags+xml"/>
  <Override PartName="/ppt/notesSlides/notesSlide22.xml" ContentType="application/vnd.openxmlformats-officedocument.presentationml.notesSlide+xml"/>
  <Override PartName="/ppt/media/image46.bin" ContentType="image/png"/>
  <Override PartName="/ppt/tags/tag48.xml" ContentType="application/vnd.openxmlformats-officedocument.presentationml.tags+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8"/>
  </p:notesMasterIdLst>
  <p:handoutMasterIdLst>
    <p:handoutMasterId r:id="rId39"/>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Lst>
  <p:sldSz cx="12192000" cy="6858000"/>
  <p:notesSz cx="6858000" cy="1104900"/>
  <p:custDataLst>
    <p:tags r:id="rId40"/>
  </p:custDataLst>
  <p:defaultTextStyle>
    <a:defPPr>
      <a:defRPr lang="en-US"/>
    </a:defPPr>
    <a:lvl1pPr marL="0" algn="l" defTabSz="914460" rtl="0" eaLnBrk="1" latinLnBrk="0" hangingPunct="1">
      <a:defRPr sz="1765" kern="1200">
        <a:solidFill>
          <a:schemeClr val="tx1"/>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5E650778-C8AC-4573-A306-08A0C1B81EE5}">
          <p14:sldIdLst>
            <p14:sldId id="256"/>
            <p14:sldId id="257"/>
          </p14:sldIdLst>
        </p14:section>
        <p14:section name="Git - Setup" id="{4A87D3EC-2E8C-4697-81FA-94A6B89DA86C}">
          <p14:sldIdLst>
            <p14:sldId id="258"/>
            <p14:sldId id="259"/>
            <p14:sldId id="260"/>
            <p14:sldId id="261"/>
            <p14:sldId id="262"/>
            <p14:sldId id="263"/>
            <p14:sldId id="264"/>
            <p14:sldId id="265"/>
            <p14:sldId id="266"/>
            <p14:sldId id="267"/>
            <p14:sldId id="268"/>
            <p14:sldId id="269"/>
            <p14:sldId id="270"/>
            <p14:sldId id="271"/>
            <p14:sldId id="272"/>
          </p14:sldIdLst>
        </p14:section>
        <p14:section name="Logging into a Git repository" id="{8DDB8A01-265F-413F-AD41-37B1A6C6853C}">
          <p14:sldIdLst>
            <p14:sldId id="273"/>
            <p14:sldId id="274"/>
            <p14:sldId id="275"/>
            <p14:sldId id="276"/>
            <p14:sldId id="277"/>
            <p14:sldId id="278"/>
            <p14:sldId id="279"/>
            <p14:sldId id="280"/>
            <p14:sldId id="281"/>
            <p14:sldId id="282"/>
            <p14:sldId id="283"/>
            <p14:sldId id="284"/>
            <p14:sldId id="285"/>
            <p14:sldId id="286"/>
          </p14:sldIdLst>
        </p14:section>
        <p14:section name="LAB: Git Introduction" id="{86357456-0A99-49FD-82C7-32A36B1F7EA1}">
          <p14:sldIdLst>
            <p14:sldId id="287"/>
            <p14:sldId id="28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EC4DA09-A143-8FFA-254E-10C8880A7B10}" name="Saku Uchikawa" initials="SU" userId="Anonymous_Saku Uchikawa" providerId="None"/>
  <p188:author id="{9C54B51B-B11F-3A38-BE84-966141B38A11}" name="Daniele De Angelis" initials="DA" userId="S::dadea@microsoft.com::923242f7-b5ee-4cfe-bd76-24f60a508424" providerId="AD"/>
  <p188:author id="{2EFD172E-C533-0181-99D3-961D485BFB69}" name="Monica Lueder" initials="ML" userId="S-1-5-21-2127521184-1604012920-1887927527-2598260" providerId="AD"/>
  <p188:author id="{DEBB8F46-56C5-6132-2042-26086761F3BD}" name="Kory Thacher" initials="KT" userId="S::korythac@microsoft.com::995eb0f2-f21c-467c-a947-4f8fc26d0f2e" providerId="AD"/>
  <p188:author id="{B3D18764-E50E-DF36-9CE8-061B19BE6AF6}" name="Mary Feil-Jacobs" initials="MFJ" userId="Anonymous_Mary Feil-Jacobs" providerId="None"/>
  <p188:author id="{5713B1A0-5F91-B529-7EE0-8C05B7055D6C}" name="Mark Short" initials="MS" userId="S-1-5-21-2127521184-1604012920-1887927527-228755" providerId="AD"/>
  <p188:author id="{D2F398DB-F53E-861C-B677-A4C4B371B7F8}" name="Mike O'Neill" initials="MO" userId="S::mconeill@microsoft.com::4db8c7d5-0316-4c76-8011-b0536973c37b" providerId="AD"/>
  <p188:author id="{0D3428EF-EBBF-0D99-A3B9-5DDB4A16D187}" name="Tony Radkiewicz" initials="TR" userId="S::anradkie@microsoft.com::9832534a-7e4f-4058-9c41-7f4a5b855c95" providerId="AD"/>
  <p188:author id="{903D06F5-1E01-5A4A-2E05-DDFB59BD23BB}" name="Mary Feil-Jacobs" initials="MF" userId="S-1-5-21-2127521184-1604012920-1887927527-6500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5252"/>
    <a:srgbClr val="0078D7"/>
    <a:srgbClr val="969696"/>
    <a:srgbClr val="D7D7D7"/>
    <a:srgbClr val="E3008C"/>
    <a:srgbClr val="5C005C"/>
    <a:srgbClr val="603C88"/>
    <a:srgbClr val="32145A"/>
    <a:srgbClr val="B4A0FF"/>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4E52FD-0F4E-408A-9432-8538D1F246AF}" v="296" dt="2020-02-27T18:37:34.7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83153" autoAdjust="0"/>
  </p:normalViewPr>
  <p:slideViewPr>
    <p:cSldViewPr snapToGrid="0">
      <p:cViewPr varScale="1">
        <p:scale>
          <a:sx n="60" d="100"/>
          <a:sy n="60" d="100"/>
        </p:scale>
        <p:origin x="2107" y="43"/>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diagrams/_rels/data2.xml.rels><?xml version="1.0" encoding="UTF-8" standalone="yes"?>
<Relationships xmlns="http://schemas.openxmlformats.org/package/2006/relationships"><Relationship Id="rId3" Type="http://schemas.openxmlformats.org/officeDocument/2006/relationships/image" Target="../media/image7.bin"/><Relationship Id="rId2" Type="http://schemas.openxmlformats.org/officeDocument/2006/relationships/image" Target="../media/image6.bin"/><Relationship Id="rId1" Type="http://schemas.openxmlformats.org/officeDocument/2006/relationships/image" Target="../media/image5.bin"/><Relationship Id="rId4" Type="http://schemas.openxmlformats.org/officeDocument/2006/relationships/image" Target="../media/image8.bin"/></Relationships>
</file>

<file path=ppt/diagrams/_rels/data4.xml.rels><?xml version="1.0" encoding="UTF-8" standalone="yes"?>
<Relationships xmlns="http://schemas.openxmlformats.org/package/2006/relationships"><Relationship Id="rId8" Type="http://schemas.openxmlformats.org/officeDocument/2006/relationships/image" Target="../media/image16.bin"/><Relationship Id="rId3" Type="http://schemas.openxmlformats.org/officeDocument/2006/relationships/image" Target="../media/image11.bin"/><Relationship Id="rId7" Type="http://schemas.openxmlformats.org/officeDocument/2006/relationships/image" Target="../media/image15.bin"/><Relationship Id="rId2" Type="http://schemas.openxmlformats.org/officeDocument/2006/relationships/image" Target="../media/image10.bin"/><Relationship Id="rId1" Type="http://schemas.openxmlformats.org/officeDocument/2006/relationships/image" Target="../media/image9.bin"/><Relationship Id="rId6" Type="http://schemas.openxmlformats.org/officeDocument/2006/relationships/image" Target="../media/image14.bin"/><Relationship Id="rId5" Type="http://schemas.openxmlformats.org/officeDocument/2006/relationships/image" Target="../media/image13.bin"/><Relationship Id="rId4" Type="http://schemas.openxmlformats.org/officeDocument/2006/relationships/image" Target="../media/image12.bin"/></Relationships>
</file>

<file path=ppt/diagrams/_rels/data5.xml.rels><?xml version="1.0" encoding="UTF-8" standalone="yes"?>
<Relationships xmlns="http://schemas.openxmlformats.org/package/2006/relationships"><Relationship Id="rId3" Type="http://schemas.openxmlformats.org/officeDocument/2006/relationships/image" Target="../media/image21.bin"/><Relationship Id="rId2" Type="http://schemas.openxmlformats.org/officeDocument/2006/relationships/image" Target="../media/image20.bin"/><Relationship Id="rId1" Type="http://schemas.openxmlformats.org/officeDocument/2006/relationships/image" Target="../media/image19.bin"/><Relationship Id="rId6" Type="http://schemas.openxmlformats.org/officeDocument/2006/relationships/image" Target="../media/image24.bin"/><Relationship Id="rId5" Type="http://schemas.openxmlformats.org/officeDocument/2006/relationships/image" Target="../media/image23.bin"/><Relationship Id="rId4" Type="http://schemas.openxmlformats.org/officeDocument/2006/relationships/image" Target="../media/image22.bin"/></Relationships>
</file>

<file path=ppt/diagrams/_rels/data6.xml.rels><?xml version="1.0" encoding="UTF-8" standalone="yes"?>
<Relationships xmlns="http://schemas.openxmlformats.org/package/2006/relationships"><Relationship Id="rId8" Type="http://schemas.openxmlformats.org/officeDocument/2006/relationships/image" Target="../media/image33.bin"/><Relationship Id="rId3" Type="http://schemas.openxmlformats.org/officeDocument/2006/relationships/image" Target="../media/image28.bin"/><Relationship Id="rId7" Type="http://schemas.openxmlformats.org/officeDocument/2006/relationships/image" Target="../media/image32.bin"/><Relationship Id="rId2" Type="http://schemas.openxmlformats.org/officeDocument/2006/relationships/image" Target="../media/image27.bin"/><Relationship Id="rId1" Type="http://schemas.openxmlformats.org/officeDocument/2006/relationships/image" Target="../media/image26.bin"/><Relationship Id="rId6" Type="http://schemas.openxmlformats.org/officeDocument/2006/relationships/image" Target="../media/image31.bin"/><Relationship Id="rId5" Type="http://schemas.openxmlformats.org/officeDocument/2006/relationships/image" Target="../media/image30.bin"/><Relationship Id="rId4" Type="http://schemas.openxmlformats.org/officeDocument/2006/relationships/image" Target="../media/image29.bin"/></Relationships>
</file>

<file path=ppt/diagrams/_rels/data8.xml.rels><?xml version="1.0" encoding="UTF-8" standalone="yes"?>
<Relationships xmlns="http://schemas.openxmlformats.org/package/2006/relationships"><Relationship Id="rId8" Type="http://schemas.openxmlformats.org/officeDocument/2006/relationships/image" Target="../media/image27.bin"/><Relationship Id="rId3" Type="http://schemas.openxmlformats.org/officeDocument/2006/relationships/image" Target="../media/image37.bin"/><Relationship Id="rId7" Type="http://schemas.openxmlformats.org/officeDocument/2006/relationships/image" Target="../media/image26.bin"/><Relationship Id="rId2" Type="http://schemas.openxmlformats.org/officeDocument/2006/relationships/image" Target="../media/image36.bin"/><Relationship Id="rId1" Type="http://schemas.openxmlformats.org/officeDocument/2006/relationships/image" Target="../media/image35.bin"/><Relationship Id="rId6" Type="http://schemas.openxmlformats.org/officeDocument/2006/relationships/image" Target="../media/image40.bin"/><Relationship Id="rId5" Type="http://schemas.openxmlformats.org/officeDocument/2006/relationships/image" Target="../media/image39.bin"/><Relationship Id="rId4" Type="http://schemas.openxmlformats.org/officeDocument/2006/relationships/image" Target="../media/image38.bin"/></Relationships>
</file>

<file path=ppt/diagrams/_rels/drawing2.xml.rels><?xml version="1.0" encoding="UTF-8" standalone="yes"?>
<Relationships xmlns="http://schemas.openxmlformats.org/package/2006/relationships"><Relationship Id="rId3" Type="http://schemas.openxmlformats.org/officeDocument/2006/relationships/image" Target="../media/image7.bin"/><Relationship Id="rId2" Type="http://schemas.openxmlformats.org/officeDocument/2006/relationships/image" Target="../media/image6.bin"/><Relationship Id="rId1" Type="http://schemas.openxmlformats.org/officeDocument/2006/relationships/image" Target="../media/image5.bin"/><Relationship Id="rId4" Type="http://schemas.openxmlformats.org/officeDocument/2006/relationships/image" Target="../media/image8.bin"/></Relationships>
</file>

<file path=ppt/diagrams/_rels/drawing4.xml.rels><?xml version="1.0" encoding="UTF-8" standalone="yes"?>
<Relationships xmlns="http://schemas.openxmlformats.org/package/2006/relationships"><Relationship Id="rId8" Type="http://schemas.openxmlformats.org/officeDocument/2006/relationships/image" Target="../media/image16.bin"/><Relationship Id="rId3" Type="http://schemas.openxmlformats.org/officeDocument/2006/relationships/image" Target="../media/image11.bin"/><Relationship Id="rId7" Type="http://schemas.openxmlformats.org/officeDocument/2006/relationships/image" Target="../media/image15.bin"/><Relationship Id="rId2" Type="http://schemas.openxmlformats.org/officeDocument/2006/relationships/image" Target="../media/image10.bin"/><Relationship Id="rId1" Type="http://schemas.openxmlformats.org/officeDocument/2006/relationships/image" Target="../media/image9.bin"/><Relationship Id="rId6" Type="http://schemas.openxmlformats.org/officeDocument/2006/relationships/image" Target="../media/image14.bin"/><Relationship Id="rId5" Type="http://schemas.openxmlformats.org/officeDocument/2006/relationships/image" Target="../media/image13.bin"/><Relationship Id="rId4" Type="http://schemas.openxmlformats.org/officeDocument/2006/relationships/image" Target="../media/image12.bin"/></Relationships>
</file>

<file path=ppt/diagrams/_rels/drawing5.xml.rels><?xml version="1.0" encoding="UTF-8" standalone="yes"?>
<Relationships xmlns="http://schemas.openxmlformats.org/package/2006/relationships"><Relationship Id="rId3" Type="http://schemas.openxmlformats.org/officeDocument/2006/relationships/image" Target="../media/image21.bin"/><Relationship Id="rId2" Type="http://schemas.openxmlformats.org/officeDocument/2006/relationships/image" Target="../media/image20.bin"/><Relationship Id="rId1" Type="http://schemas.openxmlformats.org/officeDocument/2006/relationships/image" Target="../media/image19.bin"/><Relationship Id="rId6" Type="http://schemas.openxmlformats.org/officeDocument/2006/relationships/image" Target="../media/image24.bin"/><Relationship Id="rId5" Type="http://schemas.openxmlformats.org/officeDocument/2006/relationships/image" Target="../media/image23.bin"/><Relationship Id="rId4" Type="http://schemas.openxmlformats.org/officeDocument/2006/relationships/image" Target="../media/image22.bin"/></Relationships>
</file>

<file path=ppt/diagrams/_rels/drawing6.xml.rels><?xml version="1.0" encoding="UTF-8" standalone="yes"?>
<Relationships xmlns="http://schemas.openxmlformats.org/package/2006/relationships"><Relationship Id="rId8" Type="http://schemas.openxmlformats.org/officeDocument/2006/relationships/image" Target="../media/image33.bin"/><Relationship Id="rId3" Type="http://schemas.openxmlformats.org/officeDocument/2006/relationships/image" Target="../media/image28.bin"/><Relationship Id="rId7" Type="http://schemas.openxmlformats.org/officeDocument/2006/relationships/image" Target="../media/image32.bin"/><Relationship Id="rId2" Type="http://schemas.openxmlformats.org/officeDocument/2006/relationships/image" Target="../media/image27.bin"/><Relationship Id="rId1" Type="http://schemas.openxmlformats.org/officeDocument/2006/relationships/image" Target="../media/image26.bin"/><Relationship Id="rId6" Type="http://schemas.openxmlformats.org/officeDocument/2006/relationships/image" Target="../media/image31.bin"/><Relationship Id="rId5" Type="http://schemas.openxmlformats.org/officeDocument/2006/relationships/image" Target="../media/image30.bin"/><Relationship Id="rId4" Type="http://schemas.openxmlformats.org/officeDocument/2006/relationships/image" Target="../media/image29.bin"/></Relationships>
</file>

<file path=ppt/diagrams/_rels/drawing8.xml.rels><?xml version="1.0" encoding="UTF-8" standalone="yes"?>
<Relationships xmlns="http://schemas.openxmlformats.org/package/2006/relationships"><Relationship Id="rId8" Type="http://schemas.openxmlformats.org/officeDocument/2006/relationships/image" Target="../media/image27.bin"/><Relationship Id="rId3" Type="http://schemas.openxmlformats.org/officeDocument/2006/relationships/image" Target="../media/image37.bin"/><Relationship Id="rId7" Type="http://schemas.openxmlformats.org/officeDocument/2006/relationships/image" Target="../media/image26.bin"/><Relationship Id="rId2" Type="http://schemas.openxmlformats.org/officeDocument/2006/relationships/image" Target="../media/image36.bin"/><Relationship Id="rId1" Type="http://schemas.openxmlformats.org/officeDocument/2006/relationships/image" Target="../media/image35.bin"/><Relationship Id="rId6" Type="http://schemas.openxmlformats.org/officeDocument/2006/relationships/image" Target="../media/image40.bin"/><Relationship Id="rId5" Type="http://schemas.openxmlformats.org/officeDocument/2006/relationships/image" Target="../media/image39.bin"/><Relationship Id="rId4" Type="http://schemas.openxmlformats.org/officeDocument/2006/relationships/image" Target="../media/image38.bin"/></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8016CF-A758-4296-A2D3-6B4BE0365A33}" type="doc">
      <dgm:prSet loTypeId="urn:microsoft.com/office/officeart/2005/8/layout/default" loCatId="list" qsTypeId="urn:microsoft.com/office/officeart/2005/8/quickstyle/simple4" qsCatId="simple" csTypeId="urn:microsoft.com/office/officeart/2005/8/colors/colorful2" csCatId="colorful"/>
      <dgm:spPr/>
      <dgm:t>
        <a:bodyPr/>
        <a:lstStyle/>
        <a:p>
          <a:endParaRPr lang="en-US"/>
        </a:p>
      </dgm:t>
    </dgm:pt>
    <dgm:pt modelId="{66AD95FC-791B-4CC0-AF33-A4AD0CB311FA}">
      <dgm:prSet/>
      <dgm:spPr/>
      <dgm:t>
        <a:bodyPr/>
        <a:lstStyle/>
        <a:p>
          <a:r>
            <a:rPr lang="en-US" baseline="0"/>
            <a:t>Version control of scripts, files, applications, etc.</a:t>
          </a:r>
          <a:endParaRPr lang="en-US"/>
        </a:p>
      </dgm:t>
    </dgm:pt>
    <dgm:pt modelId="{D940151B-1DDD-483D-A7A5-5630CFDFACE0}" type="parTrans" cxnId="{7DD01EAD-48E9-49CD-8E22-E63EE97BB8FC}">
      <dgm:prSet/>
      <dgm:spPr/>
      <dgm:t>
        <a:bodyPr/>
        <a:lstStyle/>
        <a:p>
          <a:endParaRPr lang="en-US"/>
        </a:p>
      </dgm:t>
    </dgm:pt>
    <dgm:pt modelId="{D7E36A39-F9C1-4405-B547-550A6E1933AC}" type="sibTrans" cxnId="{7DD01EAD-48E9-49CD-8E22-E63EE97BB8FC}">
      <dgm:prSet/>
      <dgm:spPr/>
      <dgm:t>
        <a:bodyPr/>
        <a:lstStyle/>
        <a:p>
          <a:endParaRPr lang="en-US"/>
        </a:p>
      </dgm:t>
    </dgm:pt>
    <dgm:pt modelId="{7B95DBB1-B137-4A74-BFC4-9D9D8BB3978F}">
      <dgm:prSet/>
      <dgm:spPr/>
      <dgm:t>
        <a:bodyPr/>
        <a:lstStyle/>
        <a:p>
          <a:r>
            <a:rPr lang="en-US" baseline="0"/>
            <a:t>Records changes to a file or set of files over time</a:t>
          </a:r>
          <a:endParaRPr lang="en-US"/>
        </a:p>
      </dgm:t>
    </dgm:pt>
    <dgm:pt modelId="{D9E64B39-EA84-4F50-8630-F0D92B047A2E}" type="parTrans" cxnId="{FD7C2266-D29D-418C-80B3-1CA235B1F425}">
      <dgm:prSet/>
      <dgm:spPr/>
      <dgm:t>
        <a:bodyPr/>
        <a:lstStyle/>
        <a:p>
          <a:endParaRPr lang="en-US"/>
        </a:p>
      </dgm:t>
    </dgm:pt>
    <dgm:pt modelId="{CF072310-B479-402F-A130-732EB37D1BAC}" type="sibTrans" cxnId="{FD7C2266-D29D-418C-80B3-1CA235B1F425}">
      <dgm:prSet/>
      <dgm:spPr/>
      <dgm:t>
        <a:bodyPr/>
        <a:lstStyle/>
        <a:p>
          <a:endParaRPr lang="en-US"/>
        </a:p>
      </dgm:t>
    </dgm:pt>
    <dgm:pt modelId="{85A24F62-77C0-4382-9E9E-B808EA85B16D}">
      <dgm:prSet/>
      <dgm:spPr/>
      <dgm:t>
        <a:bodyPr/>
        <a:lstStyle/>
        <a:p>
          <a:r>
            <a:rPr lang="en-US" baseline="0"/>
            <a:t>Allows file / project versioning</a:t>
          </a:r>
          <a:endParaRPr lang="en-US"/>
        </a:p>
      </dgm:t>
    </dgm:pt>
    <dgm:pt modelId="{CEBF38B6-CC41-4B74-8398-8F05566B5A8F}" type="parTrans" cxnId="{0A4CAEA5-DC40-44B7-87D6-F614F28CCEC5}">
      <dgm:prSet/>
      <dgm:spPr/>
      <dgm:t>
        <a:bodyPr/>
        <a:lstStyle/>
        <a:p>
          <a:endParaRPr lang="en-US"/>
        </a:p>
      </dgm:t>
    </dgm:pt>
    <dgm:pt modelId="{DA1ACF7F-2D9E-46CB-BEAC-87361950B04A}" type="sibTrans" cxnId="{0A4CAEA5-DC40-44B7-87D6-F614F28CCEC5}">
      <dgm:prSet/>
      <dgm:spPr/>
      <dgm:t>
        <a:bodyPr/>
        <a:lstStyle/>
        <a:p>
          <a:endParaRPr lang="en-US"/>
        </a:p>
      </dgm:t>
    </dgm:pt>
    <dgm:pt modelId="{E62C6D46-BE07-4BF1-A29B-FF16AEAAB9B1}">
      <dgm:prSet/>
      <dgm:spPr/>
      <dgm:t>
        <a:bodyPr/>
        <a:lstStyle/>
        <a:p>
          <a:r>
            <a:rPr lang="en-US" baseline="0"/>
            <a:t>Local or centralized</a:t>
          </a:r>
          <a:endParaRPr lang="en-US"/>
        </a:p>
      </dgm:t>
    </dgm:pt>
    <dgm:pt modelId="{7E36F500-087C-47D8-8B8B-03708FE31EF0}" type="parTrans" cxnId="{D71D94EE-256F-4EC1-995B-ACECB7EF2BFA}">
      <dgm:prSet/>
      <dgm:spPr/>
      <dgm:t>
        <a:bodyPr/>
        <a:lstStyle/>
        <a:p>
          <a:endParaRPr lang="en-US"/>
        </a:p>
      </dgm:t>
    </dgm:pt>
    <dgm:pt modelId="{6B6C6BA2-7059-4468-A21F-C0F353737609}" type="sibTrans" cxnId="{D71D94EE-256F-4EC1-995B-ACECB7EF2BFA}">
      <dgm:prSet/>
      <dgm:spPr/>
      <dgm:t>
        <a:bodyPr/>
        <a:lstStyle/>
        <a:p>
          <a:endParaRPr lang="en-US"/>
        </a:p>
      </dgm:t>
    </dgm:pt>
    <dgm:pt modelId="{7D62F302-A46D-43C8-9245-4B9DBA0CC2B9}">
      <dgm:prSet/>
      <dgm:spPr/>
      <dgm:t>
        <a:bodyPr/>
        <a:lstStyle/>
        <a:p>
          <a:r>
            <a:rPr lang="en-US" baseline="0"/>
            <a:t>Distributed version control change repository option</a:t>
          </a:r>
          <a:endParaRPr lang="en-US"/>
        </a:p>
      </dgm:t>
    </dgm:pt>
    <dgm:pt modelId="{659EDD9B-5FA7-4929-8232-58F8A85D2E5D}" type="parTrans" cxnId="{D78495F8-0B40-4BE9-872B-A6B9617F628A}">
      <dgm:prSet/>
      <dgm:spPr/>
      <dgm:t>
        <a:bodyPr/>
        <a:lstStyle/>
        <a:p>
          <a:endParaRPr lang="en-US"/>
        </a:p>
      </dgm:t>
    </dgm:pt>
    <dgm:pt modelId="{31FF72DF-474C-446D-A7A6-135EB5471DCE}" type="sibTrans" cxnId="{D78495F8-0B40-4BE9-872B-A6B9617F628A}">
      <dgm:prSet/>
      <dgm:spPr/>
      <dgm:t>
        <a:bodyPr/>
        <a:lstStyle/>
        <a:p>
          <a:endParaRPr lang="en-US"/>
        </a:p>
      </dgm:t>
    </dgm:pt>
    <dgm:pt modelId="{4B162CC7-C9A1-4CC1-A3B2-E85C007B4F7E}">
      <dgm:prSet/>
      <dgm:spPr/>
      <dgm:t>
        <a:bodyPr/>
        <a:lstStyle/>
        <a:p>
          <a:r>
            <a:rPr lang="en-US" baseline="0"/>
            <a:t>Easily swap versions</a:t>
          </a:r>
          <a:endParaRPr lang="en-US"/>
        </a:p>
      </dgm:t>
    </dgm:pt>
    <dgm:pt modelId="{DF8EC03D-9457-4710-815D-84A59C050917}" type="parTrans" cxnId="{5D216102-3F3C-4F1C-9ADE-75892617177B}">
      <dgm:prSet/>
      <dgm:spPr/>
      <dgm:t>
        <a:bodyPr/>
        <a:lstStyle/>
        <a:p>
          <a:endParaRPr lang="en-US"/>
        </a:p>
      </dgm:t>
    </dgm:pt>
    <dgm:pt modelId="{8B492D34-E61B-4323-9D33-9F660EC5E8CA}" type="sibTrans" cxnId="{5D216102-3F3C-4F1C-9ADE-75892617177B}">
      <dgm:prSet/>
      <dgm:spPr/>
      <dgm:t>
        <a:bodyPr/>
        <a:lstStyle/>
        <a:p>
          <a:endParaRPr lang="en-US"/>
        </a:p>
      </dgm:t>
    </dgm:pt>
    <dgm:pt modelId="{65490F09-7BD1-4468-A383-7E4E8C186571}">
      <dgm:prSet/>
      <dgm:spPr/>
      <dgm:t>
        <a:bodyPr/>
        <a:lstStyle/>
        <a:p>
          <a:r>
            <a:rPr lang="en-US" baseline="0"/>
            <a:t>Ideal for teams</a:t>
          </a:r>
          <a:endParaRPr lang="en-US"/>
        </a:p>
      </dgm:t>
    </dgm:pt>
    <dgm:pt modelId="{B1102D7A-661F-4895-9073-0C519CBB92DD}" type="parTrans" cxnId="{634C4EAF-EABF-48A4-987D-745F0F9C3DE0}">
      <dgm:prSet/>
      <dgm:spPr/>
      <dgm:t>
        <a:bodyPr/>
        <a:lstStyle/>
        <a:p>
          <a:endParaRPr lang="en-US"/>
        </a:p>
      </dgm:t>
    </dgm:pt>
    <dgm:pt modelId="{FE6D8277-2913-45BA-B029-8AFB50140EB9}" type="sibTrans" cxnId="{634C4EAF-EABF-48A4-987D-745F0F9C3DE0}">
      <dgm:prSet/>
      <dgm:spPr/>
      <dgm:t>
        <a:bodyPr/>
        <a:lstStyle/>
        <a:p>
          <a:endParaRPr lang="en-US"/>
        </a:p>
      </dgm:t>
    </dgm:pt>
    <dgm:pt modelId="{69B6ED7D-21B4-45AC-882D-FD9ED7658C44}">
      <dgm:prSet/>
      <dgm:spPr/>
      <dgm:t>
        <a:bodyPr/>
        <a:lstStyle/>
        <a:p>
          <a:r>
            <a:rPr lang="en-US" baseline="0"/>
            <a:t>Undo changes</a:t>
          </a:r>
          <a:endParaRPr lang="en-US"/>
        </a:p>
      </dgm:t>
    </dgm:pt>
    <dgm:pt modelId="{61B68754-D754-4518-9EF9-7DB0B62B9E36}" type="parTrans" cxnId="{4270A164-3EA7-43CF-A555-2245D004DA15}">
      <dgm:prSet/>
      <dgm:spPr/>
      <dgm:t>
        <a:bodyPr/>
        <a:lstStyle/>
        <a:p>
          <a:endParaRPr lang="en-US"/>
        </a:p>
      </dgm:t>
    </dgm:pt>
    <dgm:pt modelId="{9EDE8A2D-2EFC-492E-ACFE-4AAC569F8DF4}" type="sibTrans" cxnId="{4270A164-3EA7-43CF-A555-2245D004DA15}">
      <dgm:prSet/>
      <dgm:spPr/>
      <dgm:t>
        <a:bodyPr/>
        <a:lstStyle/>
        <a:p>
          <a:endParaRPr lang="en-US"/>
        </a:p>
      </dgm:t>
    </dgm:pt>
    <dgm:pt modelId="{2F4AA6AD-2729-4773-B146-3BF5C0AFA0E1}">
      <dgm:prSet/>
      <dgm:spPr/>
      <dgm:t>
        <a:bodyPr/>
        <a:lstStyle/>
        <a:p>
          <a:r>
            <a:rPr lang="en-US" baseline="0"/>
            <a:t>Stored on each machine</a:t>
          </a:r>
          <a:endParaRPr lang="en-US"/>
        </a:p>
      </dgm:t>
    </dgm:pt>
    <dgm:pt modelId="{F4110803-E536-4826-A534-D7E204D563AD}" type="parTrans" cxnId="{C4860C70-87E5-46D0-A516-A6799D2ECA76}">
      <dgm:prSet/>
      <dgm:spPr/>
      <dgm:t>
        <a:bodyPr/>
        <a:lstStyle/>
        <a:p>
          <a:endParaRPr lang="en-US"/>
        </a:p>
      </dgm:t>
    </dgm:pt>
    <dgm:pt modelId="{F149EF1F-0B97-4E89-8F91-EA42668F812C}" type="sibTrans" cxnId="{C4860C70-87E5-46D0-A516-A6799D2ECA76}">
      <dgm:prSet/>
      <dgm:spPr/>
      <dgm:t>
        <a:bodyPr/>
        <a:lstStyle/>
        <a:p>
          <a:endParaRPr lang="en-US"/>
        </a:p>
      </dgm:t>
    </dgm:pt>
    <dgm:pt modelId="{EECF3E0C-FA28-497E-9C7D-7EBE7E3E8C8F}" type="pres">
      <dgm:prSet presAssocID="{348016CF-A758-4296-A2D3-6B4BE0365A33}" presName="diagram" presStyleCnt="0">
        <dgm:presLayoutVars>
          <dgm:dir/>
          <dgm:resizeHandles val="exact"/>
        </dgm:presLayoutVars>
      </dgm:prSet>
      <dgm:spPr/>
    </dgm:pt>
    <dgm:pt modelId="{9C7CD270-4433-4CF9-806D-19F9166AB4B0}" type="pres">
      <dgm:prSet presAssocID="{66AD95FC-791B-4CC0-AF33-A4AD0CB311FA}" presName="node" presStyleLbl="node1" presStyleIdx="0" presStyleCnt="9">
        <dgm:presLayoutVars>
          <dgm:bulletEnabled val="1"/>
        </dgm:presLayoutVars>
      </dgm:prSet>
      <dgm:spPr/>
    </dgm:pt>
    <dgm:pt modelId="{CFDA477C-2E87-4CEF-A0DA-170D2552C68F}" type="pres">
      <dgm:prSet presAssocID="{D7E36A39-F9C1-4405-B547-550A6E1933AC}" presName="sibTrans" presStyleCnt="0"/>
      <dgm:spPr/>
    </dgm:pt>
    <dgm:pt modelId="{A6E7FDA6-F1D0-432C-BBB6-A5EB6AE32BA7}" type="pres">
      <dgm:prSet presAssocID="{7B95DBB1-B137-4A74-BFC4-9D9D8BB3978F}" presName="node" presStyleLbl="node1" presStyleIdx="1" presStyleCnt="9">
        <dgm:presLayoutVars>
          <dgm:bulletEnabled val="1"/>
        </dgm:presLayoutVars>
      </dgm:prSet>
      <dgm:spPr/>
    </dgm:pt>
    <dgm:pt modelId="{F6272446-DB2B-4554-BC0E-5252757DD444}" type="pres">
      <dgm:prSet presAssocID="{CF072310-B479-402F-A130-732EB37D1BAC}" presName="sibTrans" presStyleCnt="0"/>
      <dgm:spPr/>
    </dgm:pt>
    <dgm:pt modelId="{3C5F0AB1-0191-4931-9A79-134EC762FB8E}" type="pres">
      <dgm:prSet presAssocID="{85A24F62-77C0-4382-9E9E-B808EA85B16D}" presName="node" presStyleLbl="node1" presStyleIdx="2" presStyleCnt="9">
        <dgm:presLayoutVars>
          <dgm:bulletEnabled val="1"/>
        </dgm:presLayoutVars>
      </dgm:prSet>
      <dgm:spPr/>
    </dgm:pt>
    <dgm:pt modelId="{52175C6F-1F1C-4008-9B3E-78AE48C9F6F4}" type="pres">
      <dgm:prSet presAssocID="{DA1ACF7F-2D9E-46CB-BEAC-87361950B04A}" presName="sibTrans" presStyleCnt="0"/>
      <dgm:spPr/>
    </dgm:pt>
    <dgm:pt modelId="{2830B0F6-31CF-40F4-956C-61FB6C750A86}" type="pres">
      <dgm:prSet presAssocID="{E62C6D46-BE07-4BF1-A29B-FF16AEAAB9B1}" presName="node" presStyleLbl="node1" presStyleIdx="3" presStyleCnt="9">
        <dgm:presLayoutVars>
          <dgm:bulletEnabled val="1"/>
        </dgm:presLayoutVars>
      </dgm:prSet>
      <dgm:spPr/>
    </dgm:pt>
    <dgm:pt modelId="{B5EA098D-4C7D-4C07-A485-D65D4BE2FB31}" type="pres">
      <dgm:prSet presAssocID="{6B6C6BA2-7059-4468-A21F-C0F353737609}" presName="sibTrans" presStyleCnt="0"/>
      <dgm:spPr/>
    </dgm:pt>
    <dgm:pt modelId="{B8186457-F44D-4117-96EC-C38C43255AFC}" type="pres">
      <dgm:prSet presAssocID="{7D62F302-A46D-43C8-9245-4B9DBA0CC2B9}" presName="node" presStyleLbl="node1" presStyleIdx="4" presStyleCnt="9">
        <dgm:presLayoutVars>
          <dgm:bulletEnabled val="1"/>
        </dgm:presLayoutVars>
      </dgm:prSet>
      <dgm:spPr/>
    </dgm:pt>
    <dgm:pt modelId="{F332E312-09AE-4ACB-8C9B-8C19BE4A8C0D}" type="pres">
      <dgm:prSet presAssocID="{31FF72DF-474C-446D-A7A6-135EB5471DCE}" presName="sibTrans" presStyleCnt="0"/>
      <dgm:spPr/>
    </dgm:pt>
    <dgm:pt modelId="{D8B52EEC-023B-4087-B902-C27D6E4E6F8D}" type="pres">
      <dgm:prSet presAssocID="{4B162CC7-C9A1-4CC1-A3B2-E85C007B4F7E}" presName="node" presStyleLbl="node1" presStyleIdx="5" presStyleCnt="9">
        <dgm:presLayoutVars>
          <dgm:bulletEnabled val="1"/>
        </dgm:presLayoutVars>
      </dgm:prSet>
      <dgm:spPr/>
    </dgm:pt>
    <dgm:pt modelId="{7ED3B350-6336-436A-96AD-287479591D42}" type="pres">
      <dgm:prSet presAssocID="{8B492D34-E61B-4323-9D33-9F660EC5E8CA}" presName="sibTrans" presStyleCnt="0"/>
      <dgm:spPr/>
    </dgm:pt>
    <dgm:pt modelId="{AE7618BB-F914-4516-8277-9A1287901F83}" type="pres">
      <dgm:prSet presAssocID="{65490F09-7BD1-4468-A383-7E4E8C186571}" presName="node" presStyleLbl="node1" presStyleIdx="6" presStyleCnt="9">
        <dgm:presLayoutVars>
          <dgm:bulletEnabled val="1"/>
        </dgm:presLayoutVars>
      </dgm:prSet>
      <dgm:spPr/>
    </dgm:pt>
    <dgm:pt modelId="{1EFF97C1-A24B-4077-88FF-88EFDF6EC6EB}" type="pres">
      <dgm:prSet presAssocID="{FE6D8277-2913-45BA-B029-8AFB50140EB9}" presName="sibTrans" presStyleCnt="0"/>
      <dgm:spPr/>
    </dgm:pt>
    <dgm:pt modelId="{434D329E-1D49-4608-B7DA-6CA7113F1377}" type="pres">
      <dgm:prSet presAssocID="{69B6ED7D-21B4-45AC-882D-FD9ED7658C44}" presName="node" presStyleLbl="node1" presStyleIdx="7" presStyleCnt="9">
        <dgm:presLayoutVars>
          <dgm:bulletEnabled val="1"/>
        </dgm:presLayoutVars>
      </dgm:prSet>
      <dgm:spPr/>
    </dgm:pt>
    <dgm:pt modelId="{CDB8707E-53D9-44D7-B2C7-031EBA149A9C}" type="pres">
      <dgm:prSet presAssocID="{9EDE8A2D-2EFC-492E-ACFE-4AAC569F8DF4}" presName="sibTrans" presStyleCnt="0"/>
      <dgm:spPr/>
    </dgm:pt>
    <dgm:pt modelId="{92EAE535-0C08-41E6-BDB3-FCA389471929}" type="pres">
      <dgm:prSet presAssocID="{2F4AA6AD-2729-4773-B146-3BF5C0AFA0E1}" presName="node" presStyleLbl="node1" presStyleIdx="8" presStyleCnt="9">
        <dgm:presLayoutVars>
          <dgm:bulletEnabled val="1"/>
        </dgm:presLayoutVars>
      </dgm:prSet>
      <dgm:spPr/>
    </dgm:pt>
  </dgm:ptLst>
  <dgm:cxnLst>
    <dgm:cxn modelId="{5E7A0901-FC1A-48F1-8121-0382EF3B0159}" type="presOf" srcId="{69B6ED7D-21B4-45AC-882D-FD9ED7658C44}" destId="{434D329E-1D49-4608-B7DA-6CA7113F1377}" srcOrd="0" destOrd="0" presId="urn:microsoft.com/office/officeart/2005/8/layout/default"/>
    <dgm:cxn modelId="{5D216102-3F3C-4F1C-9ADE-75892617177B}" srcId="{348016CF-A758-4296-A2D3-6B4BE0365A33}" destId="{4B162CC7-C9A1-4CC1-A3B2-E85C007B4F7E}" srcOrd="5" destOrd="0" parTransId="{DF8EC03D-9457-4710-815D-84A59C050917}" sibTransId="{8B492D34-E61B-4323-9D33-9F660EC5E8CA}"/>
    <dgm:cxn modelId="{52881935-0E38-487D-916C-5523A1877713}" type="presOf" srcId="{66AD95FC-791B-4CC0-AF33-A4AD0CB311FA}" destId="{9C7CD270-4433-4CF9-806D-19F9166AB4B0}" srcOrd="0" destOrd="0" presId="urn:microsoft.com/office/officeart/2005/8/layout/default"/>
    <dgm:cxn modelId="{4270A164-3EA7-43CF-A555-2245D004DA15}" srcId="{348016CF-A758-4296-A2D3-6B4BE0365A33}" destId="{69B6ED7D-21B4-45AC-882D-FD9ED7658C44}" srcOrd="7" destOrd="0" parTransId="{61B68754-D754-4518-9EF9-7DB0B62B9E36}" sibTransId="{9EDE8A2D-2EFC-492E-ACFE-4AAC569F8DF4}"/>
    <dgm:cxn modelId="{FD7C2266-D29D-418C-80B3-1CA235B1F425}" srcId="{348016CF-A758-4296-A2D3-6B4BE0365A33}" destId="{7B95DBB1-B137-4A74-BFC4-9D9D8BB3978F}" srcOrd="1" destOrd="0" parTransId="{D9E64B39-EA84-4F50-8630-F0D92B047A2E}" sibTransId="{CF072310-B479-402F-A130-732EB37D1BAC}"/>
    <dgm:cxn modelId="{7C991E6B-1ED3-41F2-9F5B-578D3F1B8F61}" type="presOf" srcId="{348016CF-A758-4296-A2D3-6B4BE0365A33}" destId="{EECF3E0C-FA28-497E-9C7D-7EBE7E3E8C8F}" srcOrd="0" destOrd="0" presId="urn:microsoft.com/office/officeart/2005/8/layout/default"/>
    <dgm:cxn modelId="{C4860C70-87E5-46D0-A516-A6799D2ECA76}" srcId="{348016CF-A758-4296-A2D3-6B4BE0365A33}" destId="{2F4AA6AD-2729-4773-B146-3BF5C0AFA0E1}" srcOrd="8" destOrd="0" parTransId="{F4110803-E536-4826-A534-D7E204D563AD}" sibTransId="{F149EF1F-0B97-4E89-8F91-EA42668F812C}"/>
    <dgm:cxn modelId="{226A4372-AC1A-4356-AEF3-BF7076E9FD8C}" type="presOf" srcId="{65490F09-7BD1-4468-A383-7E4E8C186571}" destId="{AE7618BB-F914-4516-8277-9A1287901F83}" srcOrd="0" destOrd="0" presId="urn:microsoft.com/office/officeart/2005/8/layout/default"/>
    <dgm:cxn modelId="{EAE21957-6BF9-4986-9FD5-82D35D3D44DB}" type="presOf" srcId="{E62C6D46-BE07-4BF1-A29B-FF16AEAAB9B1}" destId="{2830B0F6-31CF-40F4-956C-61FB6C750A86}" srcOrd="0" destOrd="0" presId="urn:microsoft.com/office/officeart/2005/8/layout/default"/>
    <dgm:cxn modelId="{58912B7B-FB95-44EA-99B2-140A5932388B}" type="presOf" srcId="{2F4AA6AD-2729-4773-B146-3BF5C0AFA0E1}" destId="{92EAE535-0C08-41E6-BDB3-FCA389471929}" srcOrd="0" destOrd="0" presId="urn:microsoft.com/office/officeart/2005/8/layout/default"/>
    <dgm:cxn modelId="{79C9908B-F342-4AD1-8F50-CCBF983192D2}" type="presOf" srcId="{7B95DBB1-B137-4A74-BFC4-9D9D8BB3978F}" destId="{A6E7FDA6-F1D0-432C-BBB6-A5EB6AE32BA7}" srcOrd="0" destOrd="0" presId="urn:microsoft.com/office/officeart/2005/8/layout/default"/>
    <dgm:cxn modelId="{059C8F8E-3F05-4AEB-BED1-52409819F153}" type="presOf" srcId="{4B162CC7-C9A1-4CC1-A3B2-E85C007B4F7E}" destId="{D8B52EEC-023B-4087-B902-C27D6E4E6F8D}" srcOrd="0" destOrd="0" presId="urn:microsoft.com/office/officeart/2005/8/layout/default"/>
    <dgm:cxn modelId="{3E4A91A1-AD7B-43DA-B996-FE061986912C}" type="presOf" srcId="{85A24F62-77C0-4382-9E9E-B808EA85B16D}" destId="{3C5F0AB1-0191-4931-9A79-134EC762FB8E}" srcOrd="0" destOrd="0" presId="urn:microsoft.com/office/officeart/2005/8/layout/default"/>
    <dgm:cxn modelId="{0A4CAEA5-DC40-44B7-87D6-F614F28CCEC5}" srcId="{348016CF-A758-4296-A2D3-6B4BE0365A33}" destId="{85A24F62-77C0-4382-9E9E-B808EA85B16D}" srcOrd="2" destOrd="0" parTransId="{CEBF38B6-CC41-4B74-8398-8F05566B5A8F}" sibTransId="{DA1ACF7F-2D9E-46CB-BEAC-87361950B04A}"/>
    <dgm:cxn modelId="{7DD01EAD-48E9-49CD-8E22-E63EE97BB8FC}" srcId="{348016CF-A758-4296-A2D3-6B4BE0365A33}" destId="{66AD95FC-791B-4CC0-AF33-A4AD0CB311FA}" srcOrd="0" destOrd="0" parTransId="{D940151B-1DDD-483D-A7A5-5630CFDFACE0}" sibTransId="{D7E36A39-F9C1-4405-B547-550A6E1933AC}"/>
    <dgm:cxn modelId="{634C4EAF-EABF-48A4-987D-745F0F9C3DE0}" srcId="{348016CF-A758-4296-A2D3-6B4BE0365A33}" destId="{65490F09-7BD1-4468-A383-7E4E8C186571}" srcOrd="6" destOrd="0" parTransId="{B1102D7A-661F-4895-9073-0C519CBB92DD}" sibTransId="{FE6D8277-2913-45BA-B029-8AFB50140EB9}"/>
    <dgm:cxn modelId="{C60B7EE8-6568-4FBB-9D2E-9FF490F53E54}" type="presOf" srcId="{7D62F302-A46D-43C8-9245-4B9DBA0CC2B9}" destId="{B8186457-F44D-4117-96EC-C38C43255AFC}" srcOrd="0" destOrd="0" presId="urn:microsoft.com/office/officeart/2005/8/layout/default"/>
    <dgm:cxn modelId="{D71D94EE-256F-4EC1-995B-ACECB7EF2BFA}" srcId="{348016CF-A758-4296-A2D3-6B4BE0365A33}" destId="{E62C6D46-BE07-4BF1-A29B-FF16AEAAB9B1}" srcOrd="3" destOrd="0" parTransId="{7E36F500-087C-47D8-8B8B-03708FE31EF0}" sibTransId="{6B6C6BA2-7059-4468-A21F-C0F353737609}"/>
    <dgm:cxn modelId="{D78495F8-0B40-4BE9-872B-A6B9617F628A}" srcId="{348016CF-A758-4296-A2D3-6B4BE0365A33}" destId="{7D62F302-A46D-43C8-9245-4B9DBA0CC2B9}" srcOrd="4" destOrd="0" parTransId="{659EDD9B-5FA7-4929-8232-58F8A85D2E5D}" sibTransId="{31FF72DF-474C-446D-A7A6-135EB5471DCE}"/>
    <dgm:cxn modelId="{12F33E8A-4FDA-4D55-BD81-05734A6F4B6F}" type="presParOf" srcId="{EECF3E0C-FA28-497E-9C7D-7EBE7E3E8C8F}" destId="{9C7CD270-4433-4CF9-806D-19F9166AB4B0}" srcOrd="0" destOrd="0" presId="urn:microsoft.com/office/officeart/2005/8/layout/default"/>
    <dgm:cxn modelId="{A8FDD3E4-F7A8-436C-B232-CBAE81BFADEB}" type="presParOf" srcId="{EECF3E0C-FA28-497E-9C7D-7EBE7E3E8C8F}" destId="{CFDA477C-2E87-4CEF-A0DA-170D2552C68F}" srcOrd="1" destOrd="0" presId="urn:microsoft.com/office/officeart/2005/8/layout/default"/>
    <dgm:cxn modelId="{73EE9AF3-3C63-4EBD-BE39-69C6BBCEADE1}" type="presParOf" srcId="{EECF3E0C-FA28-497E-9C7D-7EBE7E3E8C8F}" destId="{A6E7FDA6-F1D0-432C-BBB6-A5EB6AE32BA7}" srcOrd="2" destOrd="0" presId="urn:microsoft.com/office/officeart/2005/8/layout/default"/>
    <dgm:cxn modelId="{E52E501A-42A0-432D-BCBF-553275128E93}" type="presParOf" srcId="{EECF3E0C-FA28-497E-9C7D-7EBE7E3E8C8F}" destId="{F6272446-DB2B-4554-BC0E-5252757DD444}" srcOrd="3" destOrd="0" presId="urn:microsoft.com/office/officeart/2005/8/layout/default"/>
    <dgm:cxn modelId="{967555A8-0645-473F-B29C-4E2716774CB7}" type="presParOf" srcId="{EECF3E0C-FA28-497E-9C7D-7EBE7E3E8C8F}" destId="{3C5F0AB1-0191-4931-9A79-134EC762FB8E}" srcOrd="4" destOrd="0" presId="urn:microsoft.com/office/officeart/2005/8/layout/default"/>
    <dgm:cxn modelId="{81AF0593-F9AF-4B68-B91E-99F920CD576E}" type="presParOf" srcId="{EECF3E0C-FA28-497E-9C7D-7EBE7E3E8C8F}" destId="{52175C6F-1F1C-4008-9B3E-78AE48C9F6F4}" srcOrd="5" destOrd="0" presId="urn:microsoft.com/office/officeart/2005/8/layout/default"/>
    <dgm:cxn modelId="{D6B77BB9-3980-4B5C-9C78-71FDDD031CFA}" type="presParOf" srcId="{EECF3E0C-FA28-497E-9C7D-7EBE7E3E8C8F}" destId="{2830B0F6-31CF-40F4-956C-61FB6C750A86}" srcOrd="6" destOrd="0" presId="urn:microsoft.com/office/officeart/2005/8/layout/default"/>
    <dgm:cxn modelId="{FAC1DAB6-AA0A-4912-9486-5FA42D28DE8A}" type="presParOf" srcId="{EECF3E0C-FA28-497E-9C7D-7EBE7E3E8C8F}" destId="{B5EA098D-4C7D-4C07-A485-D65D4BE2FB31}" srcOrd="7" destOrd="0" presId="urn:microsoft.com/office/officeart/2005/8/layout/default"/>
    <dgm:cxn modelId="{8882E93B-D8B1-4C04-86C0-5E0C5C565BDC}" type="presParOf" srcId="{EECF3E0C-FA28-497E-9C7D-7EBE7E3E8C8F}" destId="{B8186457-F44D-4117-96EC-C38C43255AFC}" srcOrd="8" destOrd="0" presId="urn:microsoft.com/office/officeart/2005/8/layout/default"/>
    <dgm:cxn modelId="{2D22E9DA-5650-4F4F-A1DB-048A46C040AD}" type="presParOf" srcId="{EECF3E0C-FA28-497E-9C7D-7EBE7E3E8C8F}" destId="{F332E312-09AE-4ACB-8C9B-8C19BE4A8C0D}" srcOrd="9" destOrd="0" presId="urn:microsoft.com/office/officeart/2005/8/layout/default"/>
    <dgm:cxn modelId="{94BC33E5-4EA5-4C29-B14F-22EB239FBCEC}" type="presParOf" srcId="{EECF3E0C-FA28-497E-9C7D-7EBE7E3E8C8F}" destId="{D8B52EEC-023B-4087-B902-C27D6E4E6F8D}" srcOrd="10" destOrd="0" presId="urn:microsoft.com/office/officeart/2005/8/layout/default"/>
    <dgm:cxn modelId="{D52080E3-E2AF-4377-B17A-AD878E278776}" type="presParOf" srcId="{EECF3E0C-FA28-497E-9C7D-7EBE7E3E8C8F}" destId="{7ED3B350-6336-436A-96AD-287479591D42}" srcOrd="11" destOrd="0" presId="urn:microsoft.com/office/officeart/2005/8/layout/default"/>
    <dgm:cxn modelId="{6DE04EDA-2F9C-4FAA-8861-DB1BBB58C654}" type="presParOf" srcId="{EECF3E0C-FA28-497E-9C7D-7EBE7E3E8C8F}" destId="{AE7618BB-F914-4516-8277-9A1287901F83}" srcOrd="12" destOrd="0" presId="urn:microsoft.com/office/officeart/2005/8/layout/default"/>
    <dgm:cxn modelId="{D65F044F-A7D3-41B0-B399-0992396879F5}" type="presParOf" srcId="{EECF3E0C-FA28-497E-9C7D-7EBE7E3E8C8F}" destId="{1EFF97C1-A24B-4077-88FF-88EFDF6EC6EB}" srcOrd="13" destOrd="0" presId="urn:microsoft.com/office/officeart/2005/8/layout/default"/>
    <dgm:cxn modelId="{0373B072-9ED3-48DD-9033-AC3E7F1700AB}" type="presParOf" srcId="{EECF3E0C-FA28-497E-9C7D-7EBE7E3E8C8F}" destId="{434D329E-1D49-4608-B7DA-6CA7113F1377}" srcOrd="14" destOrd="0" presId="urn:microsoft.com/office/officeart/2005/8/layout/default"/>
    <dgm:cxn modelId="{44E57267-DE76-4CE4-BAE4-2A6E1FC1FD0A}" type="presParOf" srcId="{EECF3E0C-FA28-497E-9C7D-7EBE7E3E8C8F}" destId="{CDB8707E-53D9-44D7-B2C7-031EBA149A9C}" srcOrd="15" destOrd="0" presId="urn:microsoft.com/office/officeart/2005/8/layout/default"/>
    <dgm:cxn modelId="{55673C98-85B6-48DD-A071-413343278E8D}" type="presParOf" srcId="{EECF3E0C-FA28-497E-9C7D-7EBE7E3E8C8F}" destId="{92EAE535-0C08-41E6-BDB3-FCA389471929}" srcOrd="1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2FD4578-4C78-4C6D-BEA4-ED7E6B5DD01B}" type="doc">
      <dgm:prSet loTypeId="urn:microsoft.com/office/officeart/2018/5/layout/CenteredIconLabelDescriptionList" loCatId="icon" qsTypeId="urn:microsoft.com/office/officeart/2005/8/quickstyle/simple1" qsCatId="simple" csTypeId="urn:microsoft.com/office/officeart/2005/8/colors/accent3_2" csCatId="accent3" phldr="1"/>
      <dgm:spPr/>
      <dgm:t>
        <a:bodyPr/>
        <a:lstStyle/>
        <a:p>
          <a:endParaRPr lang="en-US"/>
        </a:p>
      </dgm:t>
    </dgm:pt>
    <dgm:pt modelId="{CBD3935E-1E9C-49AF-8256-CBA508B99672}">
      <dgm:prSet phldrT="[Text]"/>
      <dgm:spPr/>
      <dgm:t>
        <a:bodyPr/>
        <a:lstStyle/>
        <a:p>
          <a:pPr>
            <a:lnSpc>
              <a:spcPct val="100000"/>
            </a:lnSpc>
            <a:defRPr b="1"/>
          </a:pPr>
          <a:r>
            <a:rPr lang="en-US"/>
            <a:t>Distributed</a:t>
          </a:r>
        </a:p>
      </dgm:t>
    </dgm:pt>
    <dgm:pt modelId="{C9AD9898-8791-4FC2-B96D-8640E6BADC6A}" type="parTrans" cxnId="{80EDCDA7-30F9-46E0-9C3E-85C484761FBF}">
      <dgm:prSet/>
      <dgm:spPr/>
      <dgm:t>
        <a:bodyPr/>
        <a:lstStyle/>
        <a:p>
          <a:endParaRPr lang="en-US"/>
        </a:p>
      </dgm:t>
    </dgm:pt>
    <dgm:pt modelId="{3ED371C7-546A-46FB-8B3B-04FB1501A093}" type="sibTrans" cxnId="{80EDCDA7-30F9-46E0-9C3E-85C484761FBF}">
      <dgm:prSet/>
      <dgm:spPr/>
      <dgm:t>
        <a:bodyPr/>
        <a:lstStyle/>
        <a:p>
          <a:endParaRPr lang="en-US"/>
        </a:p>
      </dgm:t>
    </dgm:pt>
    <dgm:pt modelId="{60636034-77EE-4BB0-9787-1907C7AD87C5}">
      <dgm:prSet phldrT="[Text]"/>
      <dgm:spPr/>
      <dgm:t>
        <a:bodyPr/>
        <a:lstStyle/>
        <a:p>
          <a:pPr>
            <a:lnSpc>
              <a:spcPct val="100000"/>
            </a:lnSpc>
          </a:pPr>
          <a:r>
            <a:rPr lang="en-US"/>
            <a:t>Everyone has a copy</a:t>
          </a:r>
        </a:p>
      </dgm:t>
    </dgm:pt>
    <dgm:pt modelId="{7E9CF25E-039E-4962-8DDD-5F518B5C278E}" type="parTrans" cxnId="{992271C0-5BB9-4CC6-A18C-7891AFFE0DD9}">
      <dgm:prSet/>
      <dgm:spPr/>
      <dgm:t>
        <a:bodyPr/>
        <a:lstStyle/>
        <a:p>
          <a:endParaRPr lang="en-US"/>
        </a:p>
      </dgm:t>
    </dgm:pt>
    <dgm:pt modelId="{6FE167AC-6C35-4313-A2E6-0D0A9968BD48}" type="sibTrans" cxnId="{992271C0-5BB9-4CC6-A18C-7891AFFE0DD9}">
      <dgm:prSet/>
      <dgm:spPr/>
      <dgm:t>
        <a:bodyPr/>
        <a:lstStyle/>
        <a:p>
          <a:endParaRPr lang="en-US"/>
        </a:p>
      </dgm:t>
    </dgm:pt>
    <dgm:pt modelId="{4F208AF2-EC27-45BB-8050-2F94DF74C34E}">
      <dgm:prSet phldrT="[Text]"/>
      <dgm:spPr/>
      <dgm:t>
        <a:bodyPr/>
        <a:lstStyle/>
        <a:p>
          <a:pPr>
            <a:lnSpc>
              <a:spcPct val="100000"/>
            </a:lnSpc>
          </a:pPr>
          <a:r>
            <a:rPr lang="en-US"/>
            <a:t>Changes made locally</a:t>
          </a:r>
        </a:p>
      </dgm:t>
    </dgm:pt>
    <dgm:pt modelId="{3941AD5E-E9F7-4AA9-B554-18FF45B91F3B}" type="parTrans" cxnId="{694668BC-1373-4D5A-B099-A3E978FD7BA4}">
      <dgm:prSet/>
      <dgm:spPr/>
      <dgm:t>
        <a:bodyPr/>
        <a:lstStyle/>
        <a:p>
          <a:endParaRPr lang="en-US"/>
        </a:p>
      </dgm:t>
    </dgm:pt>
    <dgm:pt modelId="{7CA40641-C2DC-4B1F-B425-0F1246B70C0D}" type="sibTrans" cxnId="{694668BC-1373-4D5A-B099-A3E978FD7BA4}">
      <dgm:prSet/>
      <dgm:spPr/>
      <dgm:t>
        <a:bodyPr/>
        <a:lstStyle/>
        <a:p>
          <a:endParaRPr lang="en-US"/>
        </a:p>
      </dgm:t>
    </dgm:pt>
    <dgm:pt modelId="{238EAB13-9192-4A09-BD4E-602E0DDB5B0A}">
      <dgm:prSet phldrT="[Text]"/>
      <dgm:spPr/>
      <dgm:t>
        <a:bodyPr/>
        <a:lstStyle/>
        <a:p>
          <a:pPr>
            <a:lnSpc>
              <a:spcPct val="100000"/>
            </a:lnSpc>
            <a:defRPr b="1"/>
          </a:pPr>
          <a:r>
            <a:rPr lang="en-US"/>
            <a:t>Centralized</a:t>
          </a:r>
        </a:p>
      </dgm:t>
    </dgm:pt>
    <dgm:pt modelId="{1A630D3D-C1B0-4A28-A1D6-052659EF932B}" type="parTrans" cxnId="{23EF9E20-0FF7-4F3A-8B62-295925D22191}">
      <dgm:prSet/>
      <dgm:spPr/>
      <dgm:t>
        <a:bodyPr/>
        <a:lstStyle/>
        <a:p>
          <a:endParaRPr lang="en-US"/>
        </a:p>
      </dgm:t>
    </dgm:pt>
    <dgm:pt modelId="{675C9D78-2EFF-42EB-8629-85D7184752CB}" type="sibTrans" cxnId="{23EF9E20-0FF7-4F3A-8B62-295925D22191}">
      <dgm:prSet/>
      <dgm:spPr/>
      <dgm:t>
        <a:bodyPr/>
        <a:lstStyle/>
        <a:p>
          <a:endParaRPr lang="en-US"/>
        </a:p>
      </dgm:t>
    </dgm:pt>
    <dgm:pt modelId="{B255A9D5-D11D-411A-8822-98482D339AF8}">
      <dgm:prSet phldrT="[Text]"/>
      <dgm:spPr/>
      <dgm:t>
        <a:bodyPr/>
        <a:lstStyle/>
        <a:p>
          <a:pPr>
            <a:lnSpc>
              <a:spcPct val="100000"/>
            </a:lnSpc>
          </a:pPr>
          <a:r>
            <a:rPr lang="en-US"/>
            <a:t>Master copy is stored centrally</a:t>
          </a:r>
        </a:p>
      </dgm:t>
    </dgm:pt>
    <dgm:pt modelId="{3075CDE0-A8DA-4F01-9980-7447BBE68BD1}" type="parTrans" cxnId="{88B057E4-C894-4616-ABA8-38119A153028}">
      <dgm:prSet/>
      <dgm:spPr/>
      <dgm:t>
        <a:bodyPr/>
        <a:lstStyle/>
        <a:p>
          <a:endParaRPr lang="en-US"/>
        </a:p>
      </dgm:t>
    </dgm:pt>
    <dgm:pt modelId="{09C99F77-BC8E-431E-AE5B-05DC2C0C9EBA}" type="sibTrans" cxnId="{88B057E4-C894-4616-ABA8-38119A153028}">
      <dgm:prSet/>
      <dgm:spPr/>
      <dgm:t>
        <a:bodyPr/>
        <a:lstStyle/>
        <a:p>
          <a:endParaRPr lang="en-US"/>
        </a:p>
      </dgm:t>
    </dgm:pt>
    <dgm:pt modelId="{7F815804-1F1E-4C29-A849-D1811071B41A}">
      <dgm:prSet phldrT="[Text]"/>
      <dgm:spPr/>
      <dgm:t>
        <a:bodyPr/>
        <a:lstStyle/>
        <a:p>
          <a:pPr>
            <a:lnSpc>
              <a:spcPct val="100000"/>
            </a:lnSpc>
          </a:pPr>
          <a:r>
            <a:rPr lang="en-US"/>
            <a:t>Requires network connectivity</a:t>
          </a:r>
        </a:p>
      </dgm:t>
    </dgm:pt>
    <dgm:pt modelId="{F1083FB2-5999-4CD9-92AC-A4590B351FD9}" type="parTrans" cxnId="{A0FD2115-8DA6-48BE-BD74-C5EF4E6F1FF0}">
      <dgm:prSet/>
      <dgm:spPr/>
      <dgm:t>
        <a:bodyPr/>
        <a:lstStyle/>
        <a:p>
          <a:endParaRPr lang="en-US"/>
        </a:p>
      </dgm:t>
    </dgm:pt>
    <dgm:pt modelId="{9374B380-BD68-4798-8C59-36BD3E042645}" type="sibTrans" cxnId="{A0FD2115-8DA6-48BE-BD74-C5EF4E6F1FF0}">
      <dgm:prSet/>
      <dgm:spPr/>
      <dgm:t>
        <a:bodyPr/>
        <a:lstStyle/>
        <a:p>
          <a:endParaRPr lang="en-US"/>
        </a:p>
      </dgm:t>
    </dgm:pt>
    <dgm:pt modelId="{B22FBC43-34AE-4CEC-BA33-DDCCAB635F4B}">
      <dgm:prSet phldrT="[Text]"/>
      <dgm:spPr/>
      <dgm:t>
        <a:bodyPr/>
        <a:lstStyle/>
        <a:p>
          <a:pPr>
            <a:lnSpc>
              <a:spcPct val="100000"/>
            </a:lnSpc>
          </a:pPr>
          <a:r>
            <a:rPr lang="en-US"/>
            <a:t>Merged with an online central copy</a:t>
          </a:r>
        </a:p>
      </dgm:t>
    </dgm:pt>
    <dgm:pt modelId="{14A9E566-A3A7-4E84-B44C-4E0E60F603FB}" type="parTrans" cxnId="{39ED5D2A-521B-4477-9A33-DF41BD368457}">
      <dgm:prSet/>
      <dgm:spPr/>
      <dgm:t>
        <a:bodyPr/>
        <a:lstStyle/>
        <a:p>
          <a:endParaRPr lang="en-US"/>
        </a:p>
      </dgm:t>
    </dgm:pt>
    <dgm:pt modelId="{AA548477-B6E8-468F-ABDD-74AF3CCA7D12}" type="sibTrans" cxnId="{39ED5D2A-521B-4477-9A33-DF41BD368457}">
      <dgm:prSet/>
      <dgm:spPr/>
      <dgm:t>
        <a:bodyPr/>
        <a:lstStyle/>
        <a:p>
          <a:endParaRPr lang="en-US"/>
        </a:p>
      </dgm:t>
    </dgm:pt>
    <dgm:pt modelId="{85E85BBA-13A0-4A20-897C-638D8EF7DB26}">
      <dgm:prSet phldrT="[Text]"/>
      <dgm:spPr/>
      <dgm:t>
        <a:bodyPr/>
        <a:lstStyle/>
        <a:p>
          <a:pPr>
            <a:lnSpc>
              <a:spcPct val="100000"/>
            </a:lnSpc>
          </a:pPr>
          <a:r>
            <a:rPr lang="en-US"/>
            <a:t>Doesn’t generally require connectivity</a:t>
          </a:r>
        </a:p>
      </dgm:t>
    </dgm:pt>
    <dgm:pt modelId="{037ED204-01A1-4D3B-9D48-01A77918C789}" type="parTrans" cxnId="{EA3E1419-B44E-4FF0-B881-AB018C7C8373}">
      <dgm:prSet/>
      <dgm:spPr/>
      <dgm:t>
        <a:bodyPr/>
        <a:lstStyle/>
        <a:p>
          <a:endParaRPr lang="en-US"/>
        </a:p>
      </dgm:t>
    </dgm:pt>
    <dgm:pt modelId="{8960A6CA-BDE5-493E-8CB1-BAB4F6826D92}" type="sibTrans" cxnId="{EA3E1419-B44E-4FF0-B881-AB018C7C8373}">
      <dgm:prSet/>
      <dgm:spPr/>
      <dgm:t>
        <a:bodyPr/>
        <a:lstStyle/>
        <a:p>
          <a:endParaRPr lang="en-US"/>
        </a:p>
      </dgm:t>
    </dgm:pt>
    <dgm:pt modelId="{CF76511A-A9B8-4D6E-9840-77C1802390D9}" type="pres">
      <dgm:prSet presAssocID="{92FD4578-4C78-4C6D-BEA4-ED7E6B5DD01B}" presName="root" presStyleCnt="0">
        <dgm:presLayoutVars>
          <dgm:dir/>
          <dgm:resizeHandles val="exact"/>
        </dgm:presLayoutVars>
      </dgm:prSet>
      <dgm:spPr/>
    </dgm:pt>
    <dgm:pt modelId="{3C11936F-2712-44C5-BD26-B2D2CC7D65BB}" type="pres">
      <dgm:prSet presAssocID="{CBD3935E-1E9C-49AF-8256-CBA508B99672}" presName="compNode" presStyleCnt="0"/>
      <dgm:spPr/>
    </dgm:pt>
    <dgm:pt modelId="{2B9151DC-350F-46FE-A129-05F05CF8892E}" type="pres">
      <dgm:prSet presAssocID="{CBD3935E-1E9C-49AF-8256-CBA508B99672}"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omputer"/>
        </a:ext>
      </dgm:extLst>
    </dgm:pt>
    <dgm:pt modelId="{B07D2567-B594-472C-BAEC-8FC5A2675C23}" type="pres">
      <dgm:prSet presAssocID="{CBD3935E-1E9C-49AF-8256-CBA508B99672}" presName="iconSpace" presStyleCnt="0"/>
      <dgm:spPr/>
    </dgm:pt>
    <dgm:pt modelId="{03BAFFA5-74A0-4F80-A1EE-B49658FCA72C}" type="pres">
      <dgm:prSet presAssocID="{CBD3935E-1E9C-49AF-8256-CBA508B99672}" presName="parTx" presStyleLbl="revTx" presStyleIdx="0" presStyleCnt="4">
        <dgm:presLayoutVars>
          <dgm:chMax val="0"/>
          <dgm:chPref val="0"/>
        </dgm:presLayoutVars>
      </dgm:prSet>
      <dgm:spPr/>
    </dgm:pt>
    <dgm:pt modelId="{D39516D8-2F23-419B-A0E6-ABEBF742F7EF}" type="pres">
      <dgm:prSet presAssocID="{CBD3935E-1E9C-49AF-8256-CBA508B99672}" presName="txSpace" presStyleCnt="0"/>
      <dgm:spPr/>
    </dgm:pt>
    <dgm:pt modelId="{E5BA718A-FBFD-4146-91D0-A73745522F07}" type="pres">
      <dgm:prSet presAssocID="{CBD3935E-1E9C-49AF-8256-CBA508B99672}" presName="desTx" presStyleLbl="revTx" presStyleIdx="1" presStyleCnt="4">
        <dgm:presLayoutVars/>
      </dgm:prSet>
      <dgm:spPr/>
    </dgm:pt>
    <dgm:pt modelId="{4EFEE8C1-2F82-4B44-BE4B-83CC136ADD5B}" type="pres">
      <dgm:prSet presAssocID="{3ED371C7-546A-46FB-8B3B-04FB1501A093}" presName="sibTrans" presStyleCnt="0"/>
      <dgm:spPr/>
    </dgm:pt>
    <dgm:pt modelId="{D58C0EC0-4229-4C7B-B30B-57B0F816F514}" type="pres">
      <dgm:prSet presAssocID="{238EAB13-9192-4A09-BD4E-602E0DDB5B0A}" presName="compNode" presStyleCnt="0"/>
      <dgm:spPr/>
    </dgm:pt>
    <dgm:pt modelId="{E2742639-86C8-410D-8C05-CB0AE165B8AF}" type="pres">
      <dgm:prSet presAssocID="{238EAB13-9192-4A09-BD4E-602E0DDB5B0A}"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Network"/>
        </a:ext>
      </dgm:extLst>
    </dgm:pt>
    <dgm:pt modelId="{7A94D8C0-AFDF-4417-A891-059366AEE40E}" type="pres">
      <dgm:prSet presAssocID="{238EAB13-9192-4A09-BD4E-602E0DDB5B0A}" presName="iconSpace" presStyleCnt="0"/>
      <dgm:spPr/>
    </dgm:pt>
    <dgm:pt modelId="{2A1D2B19-0142-4C77-A639-411B25C14F24}" type="pres">
      <dgm:prSet presAssocID="{238EAB13-9192-4A09-BD4E-602E0DDB5B0A}" presName="parTx" presStyleLbl="revTx" presStyleIdx="2" presStyleCnt="4">
        <dgm:presLayoutVars>
          <dgm:chMax val="0"/>
          <dgm:chPref val="0"/>
        </dgm:presLayoutVars>
      </dgm:prSet>
      <dgm:spPr/>
    </dgm:pt>
    <dgm:pt modelId="{15E54F05-07D9-48A2-B613-34B98B65D04A}" type="pres">
      <dgm:prSet presAssocID="{238EAB13-9192-4A09-BD4E-602E0DDB5B0A}" presName="txSpace" presStyleCnt="0"/>
      <dgm:spPr/>
    </dgm:pt>
    <dgm:pt modelId="{AD36E3B4-BBA9-499E-A55C-56B286F2D444}" type="pres">
      <dgm:prSet presAssocID="{238EAB13-9192-4A09-BD4E-602E0DDB5B0A}" presName="desTx" presStyleLbl="revTx" presStyleIdx="3" presStyleCnt="4">
        <dgm:presLayoutVars/>
      </dgm:prSet>
      <dgm:spPr/>
    </dgm:pt>
  </dgm:ptLst>
  <dgm:cxnLst>
    <dgm:cxn modelId="{0FC2A80F-6914-4E81-9EF0-06FE70C566CD}" type="presOf" srcId="{4F208AF2-EC27-45BB-8050-2F94DF74C34E}" destId="{E5BA718A-FBFD-4146-91D0-A73745522F07}" srcOrd="0" destOrd="1" presId="urn:microsoft.com/office/officeart/2018/5/layout/CenteredIconLabelDescriptionList"/>
    <dgm:cxn modelId="{8830A613-0085-433F-9306-C9F87EA76C78}" type="presOf" srcId="{92FD4578-4C78-4C6D-BEA4-ED7E6B5DD01B}" destId="{CF76511A-A9B8-4D6E-9840-77C1802390D9}" srcOrd="0" destOrd="0" presId="urn:microsoft.com/office/officeart/2018/5/layout/CenteredIconLabelDescriptionList"/>
    <dgm:cxn modelId="{A0FD2115-8DA6-48BE-BD74-C5EF4E6F1FF0}" srcId="{238EAB13-9192-4A09-BD4E-602E0DDB5B0A}" destId="{7F815804-1F1E-4C29-A849-D1811071B41A}" srcOrd="1" destOrd="0" parTransId="{F1083FB2-5999-4CD9-92AC-A4590B351FD9}" sibTransId="{9374B380-BD68-4798-8C59-36BD3E042645}"/>
    <dgm:cxn modelId="{EA3E1419-B44E-4FF0-B881-AB018C7C8373}" srcId="{CBD3935E-1E9C-49AF-8256-CBA508B99672}" destId="{85E85BBA-13A0-4A20-897C-638D8EF7DB26}" srcOrd="3" destOrd="0" parTransId="{037ED204-01A1-4D3B-9D48-01A77918C789}" sibTransId="{8960A6CA-BDE5-493E-8CB1-BAB4F6826D92}"/>
    <dgm:cxn modelId="{23EF9E20-0FF7-4F3A-8B62-295925D22191}" srcId="{92FD4578-4C78-4C6D-BEA4-ED7E6B5DD01B}" destId="{238EAB13-9192-4A09-BD4E-602E0DDB5B0A}" srcOrd="1" destOrd="0" parTransId="{1A630D3D-C1B0-4A28-A1D6-052659EF932B}" sibTransId="{675C9D78-2EFF-42EB-8629-85D7184752CB}"/>
    <dgm:cxn modelId="{39ED5D2A-521B-4477-9A33-DF41BD368457}" srcId="{CBD3935E-1E9C-49AF-8256-CBA508B99672}" destId="{B22FBC43-34AE-4CEC-BA33-DDCCAB635F4B}" srcOrd="2" destOrd="0" parTransId="{14A9E566-A3A7-4E84-B44C-4E0E60F603FB}" sibTransId="{AA548477-B6E8-468F-ABDD-74AF3CCA7D12}"/>
    <dgm:cxn modelId="{58DC5D48-9140-4CF5-A4E0-C79B95F465B9}" type="presOf" srcId="{60636034-77EE-4BB0-9787-1907C7AD87C5}" destId="{E5BA718A-FBFD-4146-91D0-A73745522F07}" srcOrd="0" destOrd="0" presId="urn:microsoft.com/office/officeart/2018/5/layout/CenteredIconLabelDescriptionList"/>
    <dgm:cxn modelId="{E9756A68-80A0-4460-AACD-C7DE09332A65}" type="presOf" srcId="{B22FBC43-34AE-4CEC-BA33-DDCCAB635F4B}" destId="{E5BA718A-FBFD-4146-91D0-A73745522F07}" srcOrd="0" destOrd="2" presId="urn:microsoft.com/office/officeart/2018/5/layout/CenteredIconLabelDescriptionList"/>
    <dgm:cxn modelId="{F32B5E75-8F41-4A94-A430-DC46CD4BCAC9}" type="presOf" srcId="{238EAB13-9192-4A09-BD4E-602E0DDB5B0A}" destId="{2A1D2B19-0142-4C77-A639-411B25C14F24}" srcOrd="0" destOrd="0" presId="urn:microsoft.com/office/officeart/2018/5/layout/CenteredIconLabelDescriptionList"/>
    <dgm:cxn modelId="{F39AC578-6CF7-4229-A877-60F1C224DE5C}" type="presOf" srcId="{CBD3935E-1E9C-49AF-8256-CBA508B99672}" destId="{03BAFFA5-74A0-4F80-A1EE-B49658FCA72C}" srcOrd="0" destOrd="0" presId="urn:microsoft.com/office/officeart/2018/5/layout/CenteredIconLabelDescriptionList"/>
    <dgm:cxn modelId="{A293C188-A2D5-4C7A-9A27-C22879D304F1}" type="presOf" srcId="{B255A9D5-D11D-411A-8822-98482D339AF8}" destId="{AD36E3B4-BBA9-499E-A55C-56B286F2D444}" srcOrd="0" destOrd="0" presId="urn:microsoft.com/office/officeart/2018/5/layout/CenteredIconLabelDescriptionList"/>
    <dgm:cxn modelId="{365847A2-20B6-44BA-9F63-8DC65AF08638}" type="presOf" srcId="{85E85BBA-13A0-4A20-897C-638D8EF7DB26}" destId="{E5BA718A-FBFD-4146-91D0-A73745522F07}" srcOrd="0" destOrd="3" presId="urn:microsoft.com/office/officeart/2018/5/layout/CenteredIconLabelDescriptionList"/>
    <dgm:cxn modelId="{80EDCDA7-30F9-46E0-9C3E-85C484761FBF}" srcId="{92FD4578-4C78-4C6D-BEA4-ED7E6B5DD01B}" destId="{CBD3935E-1E9C-49AF-8256-CBA508B99672}" srcOrd="0" destOrd="0" parTransId="{C9AD9898-8791-4FC2-B96D-8640E6BADC6A}" sibTransId="{3ED371C7-546A-46FB-8B3B-04FB1501A093}"/>
    <dgm:cxn modelId="{694668BC-1373-4D5A-B099-A3E978FD7BA4}" srcId="{CBD3935E-1E9C-49AF-8256-CBA508B99672}" destId="{4F208AF2-EC27-45BB-8050-2F94DF74C34E}" srcOrd="1" destOrd="0" parTransId="{3941AD5E-E9F7-4AA9-B554-18FF45B91F3B}" sibTransId="{7CA40641-C2DC-4B1F-B425-0F1246B70C0D}"/>
    <dgm:cxn modelId="{992271C0-5BB9-4CC6-A18C-7891AFFE0DD9}" srcId="{CBD3935E-1E9C-49AF-8256-CBA508B99672}" destId="{60636034-77EE-4BB0-9787-1907C7AD87C5}" srcOrd="0" destOrd="0" parTransId="{7E9CF25E-039E-4962-8DDD-5F518B5C278E}" sibTransId="{6FE167AC-6C35-4313-A2E6-0D0A9968BD48}"/>
    <dgm:cxn modelId="{B74520D4-2089-4D76-91AB-C3EEC7291F57}" type="presOf" srcId="{7F815804-1F1E-4C29-A849-D1811071B41A}" destId="{AD36E3B4-BBA9-499E-A55C-56B286F2D444}" srcOrd="0" destOrd="1" presId="urn:microsoft.com/office/officeart/2018/5/layout/CenteredIconLabelDescriptionList"/>
    <dgm:cxn modelId="{88B057E4-C894-4616-ABA8-38119A153028}" srcId="{238EAB13-9192-4A09-BD4E-602E0DDB5B0A}" destId="{B255A9D5-D11D-411A-8822-98482D339AF8}" srcOrd="0" destOrd="0" parTransId="{3075CDE0-A8DA-4F01-9980-7447BBE68BD1}" sibTransId="{09C99F77-BC8E-431E-AE5B-05DC2C0C9EBA}"/>
    <dgm:cxn modelId="{E78F0828-71E9-4AFB-ADB5-A8C48181EFB1}" type="presParOf" srcId="{CF76511A-A9B8-4D6E-9840-77C1802390D9}" destId="{3C11936F-2712-44C5-BD26-B2D2CC7D65BB}" srcOrd="0" destOrd="0" presId="urn:microsoft.com/office/officeart/2018/5/layout/CenteredIconLabelDescriptionList"/>
    <dgm:cxn modelId="{FBEE5BDC-E442-4EA4-A52D-8C5B0E22CC38}" type="presParOf" srcId="{3C11936F-2712-44C5-BD26-B2D2CC7D65BB}" destId="{2B9151DC-350F-46FE-A129-05F05CF8892E}" srcOrd="0" destOrd="0" presId="urn:microsoft.com/office/officeart/2018/5/layout/CenteredIconLabelDescriptionList"/>
    <dgm:cxn modelId="{D5D0FBE1-DA45-499D-9396-89FF1E5977C4}" type="presParOf" srcId="{3C11936F-2712-44C5-BD26-B2D2CC7D65BB}" destId="{B07D2567-B594-472C-BAEC-8FC5A2675C23}" srcOrd="1" destOrd="0" presId="urn:microsoft.com/office/officeart/2018/5/layout/CenteredIconLabelDescriptionList"/>
    <dgm:cxn modelId="{0F98547C-15D0-43FF-AAEA-C6B6ADCDC857}" type="presParOf" srcId="{3C11936F-2712-44C5-BD26-B2D2CC7D65BB}" destId="{03BAFFA5-74A0-4F80-A1EE-B49658FCA72C}" srcOrd="2" destOrd="0" presId="urn:microsoft.com/office/officeart/2018/5/layout/CenteredIconLabelDescriptionList"/>
    <dgm:cxn modelId="{40FF20E7-8113-4DD4-B2DA-A5E7188575D6}" type="presParOf" srcId="{3C11936F-2712-44C5-BD26-B2D2CC7D65BB}" destId="{D39516D8-2F23-419B-A0E6-ABEBF742F7EF}" srcOrd="3" destOrd="0" presId="urn:microsoft.com/office/officeart/2018/5/layout/CenteredIconLabelDescriptionList"/>
    <dgm:cxn modelId="{D9BEC756-FFAE-474A-9633-8A94AAB9D3F1}" type="presParOf" srcId="{3C11936F-2712-44C5-BD26-B2D2CC7D65BB}" destId="{E5BA718A-FBFD-4146-91D0-A73745522F07}" srcOrd="4" destOrd="0" presId="urn:microsoft.com/office/officeart/2018/5/layout/CenteredIconLabelDescriptionList"/>
    <dgm:cxn modelId="{108AB217-B020-468E-959C-EB5E05FBF906}" type="presParOf" srcId="{CF76511A-A9B8-4D6E-9840-77C1802390D9}" destId="{4EFEE8C1-2F82-4B44-BE4B-83CC136ADD5B}" srcOrd="1" destOrd="0" presId="urn:microsoft.com/office/officeart/2018/5/layout/CenteredIconLabelDescriptionList"/>
    <dgm:cxn modelId="{9A44FCBC-0C92-4C82-92CC-8D291E34D1CA}" type="presParOf" srcId="{CF76511A-A9B8-4D6E-9840-77C1802390D9}" destId="{D58C0EC0-4229-4C7B-B30B-57B0F816F514}" srcOrd="2" destOrd="0" presId="urn:microsoft.com/office/officeart/2018/5/layout/CenteredIconLabelDescriptionList"/>
    <dgm:cxn modelId="{B469BC9E-5138-4D06-BB5A-1D983ACF31AD}" type="presParOf" srcId="{D58C0EC0-4229-4C7B-B30B-57B0F816F514}" destId="{E2742639-86C8-410D-8C05-CB0AE165B8AF}" srcOrd="0" destOrd="0" presId="urn:microsoft.com/office/officeart/2018/5/layout/CenteredIconLabelDescriptionList"/>
    <dgm:cxn modelId="{390969AC-BD07-487D-A79E-A0E46233F1B7}" type="presParOf" srcId="{D58C0EC0-4229-4C7B-B30B-57B0F816F514}" destId="{7A94D8C0-AFDF-4417-A891-059366AEE40E}" srcOrd="1" destOrd="0" presId="urn:microsoft.com/office/officeart/2018/5/layout/CenteredIconLabelDescriptionList"/>
    <dgm:cxn modelId="{535FEA1E-58D4-4B4A-8E02-C397CBA2F247}" type="presParOf" srcId="{D58C0EC0-4229-4C7B-B30B-57B0F816F514}" destId="{2A1D2B19-0142-4C77-A639-411B25C14F24}" srcOrd="2" destOrd="0" presId="urn:microsoft.com/office/officeart/2018/5/layout/CenteredIconLabelDescriptionList"/>
    <dgm:cxn modelId="{59C259DA-F0A6-4973-B029-D9BF103A8428}" type="presParOf" srcId="{D58C0EC0-4229-4C7B-B30B-57B0F816F514}" destId="{15E54F05-07D9-48A2-B613-34B98B65D04A}" srcOrd="3" destOrd="0" presId="urn:microsoft.com/office/officeart/2018/5/layout/CenteredIconLabelDescriptionList"/>
    <dgm:cxn modelId="{72AB256E-7A10-4162-8CBE-271992469ADE}" type="presParOf" srcId="{D58C0EC0-4229-4C7B-B30B-57B0F816F514}" destId="{AD36E3B4-BBA9-499E-A55C-56B286F2D444}" srcOrd="4" destOrd="0" presId="urn:microsoft.com/office/officeart/2018/5/layout/Centered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66F6548-D32D-4AF5-B229-224F121B15AB}"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US"/>
        </a:p>
      </dgm:t>
    </dgm:pt>
    <dgm:pt modelId="{70085C36-6245-467E-8944-6B4EA1F95204}">
      <dgm:prSet/>
      <dgm:spPr/>
      <dgm:t>
        <a:bodyPr/>
        <a:lstStyle/>
        <a:p>
          <a:r>
            <a:rPr lang="en-US" baseline="0"/>
            <a:t>Continuous Integration (CI)</a:t>
          </a:r>
          <a:endParaRPr lang="en-US"/>
        </a:p>
      </dgm:t>
    </dgm:pt>
    <dgm:pt modelId="{E8946C2F-34D6-4297-B878-E5E4C0DBC0B5}" type="parTrans" cxnId="{22D7DAAE-8194-4E88-BE26-A2A07F4D0B24}">
      <dgm:prSet/>
      <dgm:spPr/>
      <dgm:t>
        <a:bodyPr/>
        <a:lstStyle/>
        <a:p>
          <a:endParaRPr lang="en-US"/>
        </a:p>
      </dgm:t>
    </dgm:pt>
    <dgm:pt modelId="{D17A80B3-9842-4DEF-AB04-E7EAD8C944FB}" type="sibTrans" cxnId="{22D7DAAE-8194-4E88-BE26-A2A07F4D0B24}">
      <dgm:prSet/>
      <dgm:spPr/>
      <dgm:t>
        <a:bodyPr/>
        <a:lstStyle/>
        <a:p>
          <a:endParaRPr lang="en-US"/>
        </a:p>
      </dgm:t>
    </dgm:pt>
    <dgm:pt modelId="{73F65F91-7F5D-4EC9-8C21-95BF034F264F}">
      <dgm:prSet/>
      <dgm:spPr/>
      <dgm:t>
        <a:bodyPr/>
        <a:lstStyle/>
        <a:p>
          <a:r>
            <a:rPr lang="en-US" baseline="0"/>
            <a:t>Team develops from same repository</a:t>
          </a:r>
          <a:endParaRPr lang="en-US"/>
        </a:p>
      </dgm:t>
    </dgm:pt>
    <dgm:pt modelId="{9ED63DED-D5D8-4CC0-8FA3-14F6F9413164}" type="parTrans" cxnId="{F1DD88F0-6B20-407D-94E8-51BF7E244347}">
      <dgm:prSet/>
      <dgm:spPr/>
      <dgm:t>
        <a:bodyPr/>
        <a:lstStyle/>
        <a:p>
          <a:endParaRPr lang="en-US"/>
        </a:p>
      </dgm:t>
    </dgm:pt>
    <dgm:pt modelId="{179E016C-FE38-44D9-BB6E-13CED39A9434}" type="sibTrans" cxnId="{F1DD88F0-6B20-407D-94E8-51BF7E244347}">
      <dgm:prSet/>
      <dgm:spPr/>
      <dgm:t>
        <a:bodyPr/>
        <a:lstStyle/>
        <a:p>
          <a:endParaRPr lang="en-US"/>
        </a:p>
      </dgm:t>
    </dgm:pt>
    <dgm:pt modelId="{05CD359E-5A6C-4A4A-A183-316A949D62BC}">
      <dgm:prSet/>
      <dgm:spPr/>
      <dgm:t>
        <a:bodyPr/>
        <a:lstStyle/>
        <a:p>
          <a:r>
            <a:rPr lang="en-US" baseline="0"/>
            <a:t>Limited drift from master branch</a:t>
          </a:r>
          <a:endParaRPr lang="en-US"/>
        </a:p>
      </dgm:t>
    </dgm:pt>
    <dgm:pt modelId="{F237F05C-B3D4-4882-9C90-3FF82B2D814C}" type="parTrans" cxnId="{9C02AD8E-10B5-4530-831B-CCDD14160F45}">
      <dgm:prSet/>
      <dgm:spPr/>
      <dgm:t>
        <a:bodyPr/>
        <a:lstStyle/>
        <a:p>
          <a:endParaRPr lang="en-US"/>
        </a:p>
      </dgm:t>
    </dgm:pt>
    <dgm:pt modelId="{7012DB1A-6E52-48F2-B12F-84082A6E9B76}" type="sibTrans" cxnId="{9C02AD8E-10B5-4530-831B-CCDD14160F45}">
      <dgm:prSet/>
      <dgm:spPr/>
      <dgm:t>
        <a:bodyPr/>
        <a:lstStyle/>
        <a:p>
          <a:endParaRPr lang="en-US"/>
        </a:p>
      </dgm:t>
    </dgm:pt>
    <dgm:pt modelId="{F9DCEE92-2D5E-4882-B76F-7A37A428AF82}">
      <dgm:prSet/>
      <dgm:spPr/>
      <dgm:t>
        <a:bodyPr/>
        <a:lstStyle/>
        <a:p>
          <a:r>
            <a:rPr lang="en-US" baseline="0"/>
            <a:t>Results contain few bugs</a:t>
          </a:r>
          <a:endParaRPr lang="en-US"/>
        </a:p>
      </dgm:t>
    </dgm:pt>
    <dgm:pt modelId="{44D46F33-D5B1-4334-849B-1D5FD2B7E406}" type="parTrans" cxnId="{A7EA3A9E-42A8-446F-83F7-3CD13D850D40}">
      <dgm:prSet/>
      <dgm:spPr/>
      <dgm:t>
        <a:bodyPr/>
        <a:lstStyle/>
        <a:p>
          <a:endParaRPr lang="en-US"/>
        </a:p>
      </dgm:t>
    </dgm:pt>
    <dgm:pt modelId="{CA2B1766-152C-4531-BD83-1FCBD2A1D508}" type="sibTrans" cxnId="{A7EA3A9E-42A8-446F-83F7-3CD13D850D40}">
      <dgm:prSet/>
      <dgm:spPr/>
      <dgm:t>
        <a:bodyPr/>
        <a:lstStyle/>
        <a:p>
          <a:endParaRPr lang="en-US"/>
        </a:p>
      </dgm:t>
    </dgm:pt>
    <dgm:pt modelId="{25CC1237-47C0-4720-B7FF-C2288BE68C47}">
      <dgm:prSet/>
      <dgm:spPr/>
      <dgm:t>
        <a:bodyPr/>
        <a:lstStyle/>
        <a:p>
          <a:r>
            <a:rPr lang="en-US" baseline="0"/>
            <a:t>Software works properly</a:t>
          </a:r>
          <a:endParaRPr lang="en-US"/>
        </a:p>
      </dgm:t>
    </dgm:pt>
    <dgm:pt modelId="{E9359327-1A40-45DB-8978-41F39D1D77BB}" type="parTrans" cxnId="{AB65F97D-BEDA-4169-AF8F-98E55750A06C}">
      <dgm:prSet/>
      <dgm:spPr/>
      <dgm:t>
        <a:bodyPr/>
        <a:lstStyle/>
        <a:p>
          <a:endParaRPr lang="en-US"/>
        </a:p>
      </dgm:t>
    </dgm:pt>
    <dgm:pt modelId="{D18D2337-C23A-49D1-A268-2CC87B2BD343}" type="sibTrans" cxnId="{AB65F97D-BEDA-4169-AF8F-98E55750A06C}">
      <dgm:prSet/>
      <dgm:spPr/>
      <dgm:t>
        <a:bodyPr/>
        <a:lstStyle/>
        <a:p>
          <a:endParaRPr lang="en-US"/>
        </a:p>
      </dgm:t>
    </dgm:pt>
    <dgm:pt modelId="{A26487A5-119F-4300-BD11-40882135099D}">
      <dgm:prSet/>
      <dgm:spPr/>
      <dgm:t>
        <a:bodyPr/>
        <a:lstStyle/>
        <a:p>
          <a:r>
            <a:rPr lang="en-US" baseline="0"/>
            <a:t>Continuous Delivery (CD)</a:t>
          </a:r>
          <a:endParaRPr lang="en-US"/>
        </a:p>
      </dgm:t>
    </dgm:pt>
    <dgm:pt modelId="{EB8DD0A5-2826-4644-8FC2-5963AA6F2F4F}" type="parTrans" cxnId="{EBC2B831-6E02-439D-8AE4-0A29EDD6A0CB}">
      <dgm:prSet/>
      <dgm:spPr/>
      <dgm:t>
        <a:bodyPr/>
        <a:lstStyle/>
        <a:p>
          <a:endParaRPr lang="en-US"/>
        </a:p>
      </dgm:t>
    </dgm:pt>
    <dgm:pt modelId="{24806BB8-9E0A-48A5-9CA5-CDFF175DAC58}" type="sibTrans" cxnId="{EBC2B831-6E02-439D-8AE4-0A29EDD6A0CB}">
      <dgm:prSet/>
      <dgm:spPr/>
      <dgm:t>
        <a:bodyPr/>
        <a:lstStyle/>
        <a:p>
          <a:endParaRPr lang="en-US"/>
        </a:p>
      </dgm:t>
    </dgm:pt>
    <dgm:pt modelId="{466BA45E-C7E2-450C-A3DE-96252FC09EDE}">
      <dgm:prSet/>
      <dgm:spPr/>
      <dgm:t>
        <a:bodyPr/>
        <a:lstStyle/>
        <a:p>
          <a:r>
            <a:rPr lang="en-US" baseline="0"/>
            <a:t>Produce software/updates in short cycles</a:t>
          </a:r>
          <a:endParaRPr lang="en-US"/>
        </a:p>
      </dgm:t>
    </dgm:pt>
    <dgm:pt modelId="{C8D57301-D007-40DA-A85C-D40A269969BA}" type="parTrans" cxnId="{EEADC819-EF73-4097-A6D1-4312370D4BA6}">
      <dgm:prSet/>
      <dgm:spPr/>
      <dgm:t>
        <a:bodyPr/>
        <a:lstStyle/>
        <a:p>
          <a:endParaRPr lang="en-US"/>
        </a:p>
      </dgm:t>
    </dgm:pt>
    <dgm:pt modelId="{8F249816-58AB-45B6-8903-E5FE1ED0D5CE}" type="sibTrans" cxnId="{EEADC819-EF73-4097-A6D1-4312370D4BA6}">
      <dgm:prSet/>
      <dgm:spPr/>
      <dgm:t>
        <a:bodyPr/>
        <a:lstStyle/>
        <a:p>
          <a:endParaRPr lang="en-US"/>
        </a:p>
      </dgm:t>
    </dgm:pt>
    <dgm:pt modelId="{57D8DAE3-F15C-4641-9C55-53BCA5F7E49E}">
      <dgm:prSet/>
      <dgm:spPr/>
      <dgm:t>
        <a:bodyPr/>
        <a:lstStyle/>
        <a:p>
          <a:r>
            <a:rPr lang="en-US" baseline="0"/>
            <a:t>Allows: building, testing, and releasing code with greater speed and frequency</a:t>
          </a:r>
          <a:endParaRPr lang="en-US"/>
        </a:p>
      </dgm:t>
    </dgm:pt>
    <dgm:pt modelId="{74CD1525-4CAA-4633-9C8D-2275DAACC1C8}" type="parTrans" cxnId="{1EA17A34-617D-4A8F-A9A1-BFD2044EB9C9}">
      <dgm:prSet/>
      <dgm:spPr/>
      <dgm:t>
        <a:bodyPr/>
        <a:lstStyle/>
        <a:p>
          <a:endParaRPr lang="en-US"/>
        </a:p>
      </dgm:t>
    </dgm:pt>
    <dgm:pt modelId="{E07BEA89-F76D-4063-8B03-839A1E00487C}" type="sibTrans" cxnId="{1EA17A34-617D-4A8F-A9A1-BFD2044EB9C9}">
      <dgm:prSet/>
      <dgm:spPr/>
      <dgm:t>
        <a:bodyPr/>
        <a:lstStyle/>
        <a:p>
          <a:endParaRPr lang="en-US"/>
        </a:p>
      </dgm:t>
    </dgm:pt>
    <dgm:pt modelId="{54D8E8A7-A5B7-4AB3-AF90-4AA271998DA7}">
      <dgm:prSet/>
      <dgm:spPr/>
      <dgm:t>
        <a:bodyPr/>
        <a:lstStyle/>
        <a:p>
          <a:r>
            <a:rPr lang="en-US" baseline="0"/>
            <a:t>Reduces: cost, time, and risk of delivering changes by allowing for more incremental updates to applications/scripts</a:t>
          </a:r>
          <a:endParaRPr lang="en-US"/>
        </a:p>
      </dgm:t>
    </dgm:pt>
    <dgm:pt modelId="{6A0A0C61-6FFD-41A2-BC87-787F5DD10E82}" type="parTrans" cxnId="{1E71DFE9-F58F-4EAC-BD3A-938897D7F2EF}">
      <dgm:prSet/>
      <dgm:spPr/>
      <dgm:t>
        <a:bodyPr/>
        <a:lstStyle/>
        <a:p>
          <a:endParaRPr lang="en-US"/>
        </a:p>
      </dgm:t>
    </dgm:pt>
    <dgm:pt modelId="{89AB523D-3C25-468D-8566-F6433196CF93}" type="sibTrans" cxnId="{1E71DFE9-F58F-4EAC-BD3A-938897D7F2EF}">
      <dgm:prSet/>
      <dgm:spPr/>
      <dgm:t>
        <a:bodyPr/>
        <a:lstStyle/>
        <a:p>
          <a:endParaRPr lang="en-US"/>
        </a:p>
      </dgm:t>
    </dgm:pt>
    <dgm:pt modelId="{86197CC7-E543-438A-9370-981E6C159777}">
      <dgm:prSet phldr="0"/>
      <dgm:spPr/>
      <dgm:t>
        <a:bodyPr/>
        <a:lstStyle/>
        <a:p>
          <a:endParaRPr lang="en-US" baseline="0">
            <a:latin typeface="Segoe UI Semibold"/>
          </a:endParaRPr>
        </a:p>
      </dgm:t>
    </dgm:pt>
    <dgm:pt modelId="{2E1E70E9-F1A8-4AC9-BD51-4FFEFC16A172}" type="parTrans" cxnId="{441B09F7-58DA-4EFD-B2A3-BAF1D24A0E66}">
      <dgm:prSet/>
      <dgm:spPr/>
    </dgm:pt>
    <dgm:pt modelId="{414123D1-581A-43F7-8FC0-2AF7EB9F69FA}" type="sibTrans" cxnId="{441B09F7-58DA-4EFD-B2A3-BAF1D24A0E66}">
      <dgm:prSet/>
      <dgm:spPr/>
    </dgm:pt>
    <dgm:pt modelId="{CBB42AC5-A2A4-4D92-AE94-F0BEB24789E8}" type="pres">
      <dgm:prSet presAssocID="{866F6548-D32D-4AF5-B229-224F121B15AB}" presName="linear" presStyleCnt="0">
        <dgm:presLayoutVars>
          <dgm:animLvl val="lvl"/>
          <dgm:resizeHandles val="exact"/>
        </dgm:presLayoutVars>
      </dgm:prSet>
      <dgm:spPr/>
    </dgm:pt>
    <dgm:pt modelId="{85D17632-0F44-442E-85FF-D8881A355F96}" type="pres">
      <dgm:prSet presAssocID="{70085C36-6245-467E-8944-6B4EA1F95204}" presName="parentText" presStyleLbl="node1" presStyleIdx="0" presStyleCnt="2">
        <dgm:presLayoutVars>
          <dgm:chMax val="0"/>
          <dgm:bulletEnabled val="1"/>
        </dgm:presLayoutVars>
      </dgm:prSet>
      <dgm:spPr/>
    </dgm:pt>
    <dgm:pt modelId="{FF119B6E-4A72-4A5A-97B3-65718B84B64B}" type="pres">
      <dgm:prSet presAssocID="{70085C36-6245-467E-8944-6B4EA1F95204}" presName="childText" presStyleLbl="revTx" presStyleIdx="0" presStyleCnt="2">
        <dgm:presLayoutVars>
          <dgm:bulletEnabled val="1"/>
        </dgm:presLayoutVars>
      </dgm:prSet>
      <dgm:spPr/>
    </dgm:pt>
    <dgm:pt modelId="{21E9410D-919C-4478-8028-D192E838CF32}" type="pres">
      <dgm:prSet presAssocID="{A26487A5-119F-4300-BD11-40882135099D}" presName="parentText" presStyleLbl="node1" presStyleIdx="1" presStyleCnt="2">
        <dgm:presLayoutVars>
          <dgm:chMax val="0"/>
          <dgm:bulletEnabled val="1"/>
        </dgm:presLayoutVars>
      </dgm:prSet>
      <dgm:spPr/>
    </dgm:pt>
    <dgm:pt modelId="{16827173-A2DA-411A-A1D0-56A0D09F286D}" type="pres">
      <dgm:prSet presAssocID="{A26487A5-119F-4300-BD11-40882135099D}" presName="childText" presStyleLbl="revTx" presStyleIdx="1" presStyleCnt="2">
        <dgm:presLayoutVars>
          <dgm:bulletEnabled val="1"/>
        </dgm:presLayoutVars>
      </dgm:prSet>
      <dgm:spPr/>
    </dgm:pt>
  </dgm:ptLst>
  <dgm:cxnLst>
    <dgm:cxn modelId="{44003C05-7F33-4A3D-8620-CDFD84B1263B}" type="presOf" srcId="{866F6548-D32D-4AF5-B229-224F121B15AB}" destId="{CBB42AC5-A2A4-4D92-AE94-F0BEB24789E8}" srcOrd="0" destOrd="0" presId="urn:microsoft.com/office/officeart/2005/8/layout/vList2"/>
    <dgm:cxn modelId="{24E71818-7D2C-41CA-B68B-92797DDC2133}" type="presOf" srcId="{25CC1237-47C0-4720-B7FF-C2288BE68C47}" destId="{FF119B6E-4A72-4A5A-97B3-65718B84B64B}" srcOrd="0" destOrd="3" presId="urn:microsoft.com/office/officeart/2005/8/layout/vList2"/>
    <dgm:cxn modelId="{EEADC819-EF73-4097-A6D1-4312370D4BA6}" srcId="{A26487A5-119F-4300-BD11-40882135099D}" destId="{466BA45E-C7E2-450C-A3DE-96252FC09EDE}" srcOrd="0" destOrd="0" parTransId="{C8D57301-D007-40DA-A85C-D40A269969BA}" sibTransId="{8F249816-58AB-45B6-8903-E5FE1ED0D5CE}"/>
    <dgm:cxn modelId="{21E21A2B-8D72-4C5E-89DC-60386D07EA4E}" type="presOf" srcId="{A26487A5-119F-4300-BD11-40882135099D}" destId="{21E9410D-919C-4478-8028-D192E838CF32}" srcOrd="0" destOrd="0" presId="urn:microsoft.com/office/officeart/2005/8/layout/vList2"/>
    <dgm:cxn modelId="{EBC2B831-6E02-439D-8AE4-0A29EDD6A0CB}" srcId="{866F6548-D32D-4AF5-B229-224F121B15AB}" destId="{A26487A5-119F-4300-BD11-40882135099D}" srcOrd="1" destOrd="0" parTransId="{EB8DD0A5-2826-4644-8FC2-5963AA6F2F4F}" sibTransId="{24806BB8-9E0A-48A5-9CA5-CDFF175DAC58}"/>
    <dgm:cxn modelId="{1EA17A34-617D-4A8F-A9A1-BFD2044EB9C9}" srcId="{A26487A5-119F-4300-BD11-40882135099D}" destId="{57D8DAE3-F15C-4641-9C55-53BCA5F7E49E}" srcOrd="1" destOrd="0" parTransId="{74CD1525-4CAA-4633-9C8D-2275DAACC1C8}" sibTransId="{E07BEA89-F76D-4063-8B03-839A1E00487C}"/>
    <dgm:cxn modelId="{F0C2D741-1573-404F-B06C-60717238ACD0}" type="presOf" srcId="{F9DCEE92-2D5E-4882-B76F-7A37A428AF82}" destId="{FF119B6E-4A72-4A5A-97B3-65718B84B64B}" srcOrd="0" destOrd="2" presId="urn:microsoft.com/office/officeart/2005/8/layout/vList2"/>
    <dgm:cxn modelId="{E2056162-6ADF-4C34-B54A-7B3A9C52FB96}" type="presOf" srcId="{57D8DAE3-F15C-4641-9C55-53BCA5F7E49E}" destId="{16827173-A2DA-411A-A1D0-56A0D09F286D}" srcOrd="0" destOrd="1" presId="urn:microsoft.com/office/officeart/2005/8/layout/vList2"/>
    <dgm:cxn modelId="{A97A8867-CA1F-44D9-9134-DA359CE86E2C}" type="presOf" srcId="{466BA45E-C7E2-450C-A3DE-96252FC09EDE}" destId="{16827173-A2DA-411A-A1D0-56A0D09F286D}" srcOrd="0" destOrd="0" presId="urn:microsoft.com/office/officeart/2005/8/layout/vList2"/>
    <dgm:cxn modelId="{8F287479-1965-4716-9342-D3C9126E8140}" type="presOf" srcId="{86197CC7-E543-438A-9370-981E6C159777}" destId="{FF119B6E-4A72-4A5A-97B3-65718B84B64B}" srcOrd="0" destOrd="4" presId="urn:microsoft.com/office/officeart/2005/8/layout/vList2"/>
    <dgm:cxn modelId="{AB65F97D-BEDA-4169-AF8F-98E55750A06C}" srcId="{70085C36-6245-467E-8944-6B4EA1F95204}" destId="{25CC1237-47C0-4720-B7FF-C2288BE68C47}" srcOrd="3" destOrd="0" parTransId="{E9359327-1A40-45DB-8978-41F39D1D77BB}" sibTransId="{D18D2337-C23A-49D1-A268-2CC87B2BD343}"/>
    <dgm:cxn modelId="{9C02AD8E-10B5-4530-831B-CCDD14160F45}" srcId="{70085C36-6245-467E-8944-6B4EA1F95204}" destId="{05CD359E-5A6C-4A4A-A183-316A949D62BC}" srcOrd="1" destOrd="0" parTransId="{F237F05C-B3D4-4882-9C90-3FF82B2D814C}" sibTransId="{7012DB1A-6E52-48F2-B12F-84082A6E9B76}"/>
    <dgm:cxn modelId="{A7EA3A9E-42A8-446F-83F7-3CD13D850D40}" srcId="{70085C36-6245-467E-8944-6B4EA1F95204}" destId="{F9DCEE92-2D5E-4882-B76F-7A37A428AF82}" srcOrd="2" destOrd="0" parTransId="{44D46F33-D5B1-4334-849B-1D5FD2B7E406}" sibTransId="{CA2B1766-152C-4531-BD83-1FCBD2A1D508}"/>
    <dgm:cxn modelId="{EC1C01A4-7D0A-4382-8A95-FDED8EABC1CB}" type="presOf" srcId="{73F65F91-7F5D-4EC9-8C21-95BF034F264F}" destId="{FF119B6E-4A72-4A5A-97B3-65718B84B64B}" srcOrd="0" destOrd="0" presId="urn:microsoft.com/office/officeart/2005/8/layout/vList2"/>
    <dgm:cxn modelId="{22D7DAAE-8194-4E88-BE26-A2A07F4D0B24}" srcId="{866F6548-D32D-4AF5-B229-224F121B15AB}" destId="{70085C36-6245-467E-8944-6B4EA1F95204}" srcOrd="0" destOrd="0" parTransId="{E8946C2F-34D6-4297-B878-E5E4C0DBC0B5}" sibTransId="{D17A80B3-9842-4DEF-AB04-E7EAD8C944FB}"/>
    <dgm:cxn modelId="{553A01BF-DDD1-47D1-A358-3FA5A89E2A73}" type="presOf" srcId="{05CD359E-5A6C-4A4A-A183-316A949D62BC}" destId="{FF119B6E-4A72-4A5A-97B3-65718B84B64B}" srcOrd="0" destOrd="1" presId="urn:microsoft.com/office/officeart/2005/8/layout/vList2"/>
    <dgm:cxn modelId="{614B74E4-74F3-4C23-BCA9-0B277C81C1FD}" type="presOf" srcId="{54D8E8A7-A5B7-4AB3-AF90-4AA271998DA7}" destId="{16827173-A2DA-411A-A1D0-56A0D09F286D}" srcOrd="0" destOrd="2" presId="urn:microsoft.com/office/officeart/2005/8/layout/vList2"/>
    <dgm:cxn modelId="{1E71DFE9-F58F-4EAC-BD3A-938897D7F2EF}" srcId="{A26487A5-119F-4300-BD11-40882135099D}" destId="{54D8E8A7-A5B7-4AB3-AF90-4AA271998DA7}" srcOrd="2" destOrd="0" parTransId="{6A0A0C61-6FFD-41A2-BC87-787F5DD10E82}" sibTransId="{89AB523D-3C25-468D-8566-F6433196CF93}"/>
    <dgm:cxn modelId="{1B04B3EF-F6F8-4B3B-81AB-FC1B39348093}" type="presOf" srcId="{70085C36-6245-467E-8944-6B4EA1F95204}" destId="{85D17632-0F44-442E-85FF-D8881A355F96}" srcOrd="0" destOrd="0" presId="urn:microsoft.com/office/officeart/2005/8/layout/vList2"/>
    <dgm:cxn modelId="{F1DD88F0-6B20-407D-94E8-51BF7E244347}" srcId="{70085C36-6245-467E-8944-6B4EA1F95204}" destId="{73F65F91-7F5D-4EC9-8C21-95BF034F264F}" srcOrd="0" destOrd="0" parTransId="{9ED63DED-D5D8-4CC0-8FA3-14F6F9413164}" sibTransId="{179E016C-FE38-44D9-BB6E-13CED39A9434}"/>
    <dgm:cxn modelId="{441B09F7-58DA-4EFD-B2A3-BAF1D24A0E66}" srcId="{70085C36-6245-467E-8944-6B4EA1F95204}" destId="{86197CC7-E543-438A-9370-981E6C159777}" srcOrd="4" destOrd="0" parTransId="{2E1E70E9-F1A8-4AC9-BD51-4FFEFC16A172}" sibTransId="{414123D1-581A-43F7-8FC0-2AF7EB9F69FA}"/>
    <dgm:cxn modelId="{1A38A387-0E65-4E2A-BE31-CF8B1A7F41C8}" type="presParOf" srcId="{CBB42AC5-A2A4-4D92-AE94-F0BEB24789E8}" destId="{85D17632-0F44-442E-85FF-D8881A355F96}" srcOrd="0" destOrd="0" presId="urn:microsoft.com/office/officeart/2005/8/layout/vList2"/>
    <dgm:cxn modelId="{92138A06-2479-4379-AAD0-23745ACC392C}" type="presParOf" srcId="{CBB42AC5-A2A4-4D92-AE94-F0BEB24789E8}" destId="{FF119B6E-4A72-4A5A-97B3-65718B84B64B}" srcOrd="1" destOrd="0" presId="urn:microsoft.com/office/officeart/2005/8/layout/vList2"/>
    <dgm:cxn modelId="{47E018CD-9229-47DF-9D18-75D15E02CF69}" type="presParOf" srcId="{CBB42AC5-A2A4-4D92-AE94-F0BEB24789E8}" destId="{21E9410D-919C-4478-8028-D192E838CF32}" srcOrd="2" destOrd="0" presId="urn:microsoft.com/office/officeart/2005/8/layout/vList2"/>
    <dgm:cxn modelId="{D269A0D8-C991-4B9B-9B48-15DE8B93C0E2}" type="presParOf" srcId="{CBB42AC5-A2A4-4D92-AE94-F0BEB24789E8}" destId="{16827173-A2DA-411A-A1D0-56A0D09F286D}"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E3E1BFD-C3DE-4077-896F-1F67E740E3DA}"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96C43588-EB0D-4E33-AC99-C27C99EC4AD3}">
      <dgm:prSet/>
      <dgm:spPr/>
      <dgm:t>
        <a:bodyPr/>
        <a:lstStyle/>
        <a:p>
          <a:r>
            <a:rPr lang="en-US"/>
            <a:t>Harness collaboration</a:t>
          </a:r>
        </a:p>
      </dgm:t>
    </dgm:pt>
    <dgm:pt modelId="{6A132A93-EF0E-43D5-8B26-95653F6A87F6}" type="parTrans" cxnId="{715F81D7-E3FA-4430-A465-3ABD02D22A55}">
      <dgm:prSet/>
      <dgm:spPr/>
      <dgm:t>
        <a:bodyPr/>
        <a:lstStyle/>
        <a:p>
          <a:endParaRPr lang="en-US"/>
        </a:p>
      </dgm:t>
    </dgm:pt>
    <dgm:pt modelId="{FC88240E-7867-48E4-B4A8-F9AFEC0B63F8}" type="sibTrans" cxnId="{715F81D7-E3FA-4430-A465-3ABD02D22A55}">
      <dgm:prSet/>
      <dgm:spPr/>
      <dgm:t>
        <a:bodyPr/>
        <a:lstStyle/>
        <a:p>
          <a:endParaRPr lang="en-US"/>
        </a:p>
      </dgm:t>
    </dgm:pt>
    <dgm:pt modelId="{88F236D8-02DC-48B0-819B-7D0BFEB5E1E5}">
      <dgm:prSet/>
      <dgm:spPr/>
      <dgm:t>
        <a:bodyPr/>
        <a:lstStyle/>
        <a:p>
          <a:r>
            <a:rPr lang="en-US"/>
            <a:t>Enable parallel development</a:t>
          </a:r>
        </a:p>
      </dgm:t>
    </dgm:pt>
    <dgm:pt modelId="{9650731E-18C5-4DDE-862A-62E5BD34E9FA}" type="parTrans" cxnId="{BEEC4AC5-146E-47D5-9202-B2CFF21F34A2}">
      <dgm:prSet/>
      <dgm:spPr/>
      <dgm:t>
        <a:bodyPr/>
        <a:lstStyle/>
        <a:p>
          <a:endParaRPr lang="en-US"/>
        </a:p>
      </dgm:t>
    </dgm:pt>
    <dgm:pt modelId="{25B96D18-051C-4188-B603-B912161D295E}" type="sibTrans" cxnId="{BEEC4AC5-146E-47D5-9202-B2CFF21F34A2}">
      <dgm:prSet/>
      <dgm:spPr/>
      <dgm:t>
        <a:bodyPr/>
        <a:lstStyle/>
        <a:p>
          <a:endParaRPr lang="en-US"/>
        </a:p>
      </dgm:t>
    </dgm:pt>
    <dgm:pt modelId="{DF142426-0EFE-42E0-8228-6130F91AA7DE}">
      <dgm:prSet/>
      <dgm:spPr/>
      <dgm:t>
        <a:bodyPr/>
        <a:lstStyle/>
        <a:p>
          <a:r>
            <a:rPr lang="en-US"/>
            <a:t>Minimize integration debt</a:t>
          </a:r>
        </a:p>
      </dgm:t>
    </dgm:pt>
    <dgm:pt modelId="{22200BF6-5F85-414D-B38D-000BD5097D98}" type="parTrans" cxnId="{6C4F5D6E-5FAE-434E-8AFA-E9800B56FABE}">
      <dgm:prSet/>
      <dgm:spPr/>
      <dgm:t>
        <a:bodyPr/>
        <a:lstStyle/>
        <a:p>
          <a:endParaRPr lang="en-US"/>
        </a:p>
      </dgm:t>
    </dgm:pt>
    <dgm:pt modelId="{DA532924-D4A8-40B8-A422-46EB0CEF8AEE}" type="sibTrans" cxnId="{6C4F5D6E-5FAE-434E-8AFA-E9800B56FABE}">
      <dgm:prSet/>
      <dgm:spPr/>
      <dgm:t>
        <a:bodyPr/>
        <a:lstStyle/>
        <a:p>
          <a:endParaRPr lang="en-US"/>
        </a:p>
      </dgm:t>
    </dgm:pt>
    <dgm:pt modelId="{3CAEE745-5098-4347-825B-803E8F364823}">
      <dgm:prSet/>
      <dgm:spPr/>
      <dgm:t>
        <a:bodyPr/>
        <a:lstStyle/>
        <a:p>
          <a:r>
            <a:rPr lang="en-US"/>
            <a:t>Act as a quality gate</a:t>
          </a:r>
        </a:p>
      </dgm:t>
    </dgm:pt>
    <dgm:pt modelId="{4752604F-E80F-4E8B-9DFE-E264CB2B3206}" type="parTrans" cxnId="{AC2944FD-82E5-4AA1-ACE4-8B5900B5B36D}">
      <dgm:prSet/>
      <dgm:spPr/>
      <dgm:t>
        <a:bodyPr/>
        <a:lstStyle/>
        <a:p>
          <a:endParaRPr lang="en-US"/>
        </a:p>
      </dgm:t>
    </dgm:pt>
    <dgm:pt modelId="{E9E734AE-F78F-4EAE-A941-1E0699C072E2}" type="sibTrans" cxnId="{AC2944FD-82E5-4AA1-ACE4-8B5900B5B36D}">
      <dgm:prSet/>
      <dgm:spPr/>
      <dgm:t>
        <a:bodyPr/>
        <a:lstStyle/>
        <a:p>
          <a:endParaRPr lang="en-US"/>
        </a:p>
      </dgm:t>
    </dgm:pt>
    <dgm:pt modelId="{69B10777-A8E0-4B90-8D22-CBD150DDF420}" type="pres">
      <dgm:prSet presAssocID="{5E3E1BFD-C3DE-4077-896F-1F67E740E3DA}" presName="root" presStyleCnt="0">
        <dgm:presLayoutVars>
          <dgm:dir/>
          <dgm:resizeHandles val="exact"/>
        </dgm:presLayoutVars>
      </dgm:prSet>
      <dgm:spPr/>
    </dgm:pt>
    <dgm:pt modelId="{ABD462C4-77AE-410A-9D4D-A511E7DB8289}" type="pres">
      <dgm:prSet presAssocID="{96C43588-EB0D-4E33-AC99-C27C99EC4AD3}" presName="compNode" presStyleCnt="0"/>
      <dgm:spPr/>
    </dgm:pt>
    <dgm:pt modelId="{98F8AA9E-1A97-4A93-B783-2494838E4AB9}" type="pres">
      <dgm:prSet presAssocID="{96C43588-EB0D-4E33-AC99-C27C99EC4AD3}" presName="bgRect" presStyleLbl="bgShp" presStyleIdx="0" presStyleCnt="4"/>
      <dgm:spPr/>
    </dgm:pt>
    <dgm:pt modelId="{F6A93692-3A02-498B-B009-2E1E404EE69B}" type="pres">
      <dgm:prSet presAssocID="{96C43588-EB0D-4E33-AC99-C27C99EC4AD3}"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andshake"/>
        </a:ext>
      </dgm:extLst>
    </dgm:pt>
    <dgm:pt modelId="{4371FA43-1F12-45C7-A84B-5D9C5C21A32D}" type="pres">
      <dgm:prSet presAssocID="{96C43588-EB0D-4E33-AC99-C27C99EC4AD3}" presName="spaceRect" presStyleCnt="0"/>
      <dgm:spPr/>
    </dgm:pt>
    <dgm:pt modelId="{3F220836-1F43-419E-B7C0-A70DF7DF3085}" type="pres">
      <dgm:prSet presAssocID="{96C43588-EB0D-4E33-AC99-C27C99EC4AD3}" presName="parTx" presStyleLbl="revTx" presStyleIdx="0" presStyleCnt="4">
        <dgm:presLayoutVars>
          <dgm:chMax val="0"/>
          <dgm:chPref val="0"/>
        </dgm:presLayoutVars>
      </dgm:prSet>
      <dgm:spPr/>
    </dgm:pt>
    <dgm:pt modelId="{EA38B33A-24E9-4E7E-B440-0CE0C7853A4C}" type="pres">
      <dgm:prSet presAssocID="{FC88240E-7867-48E4-B4A8-F9AFEC0B63F8}" presName="sibTrans" presStyleCnt="0"/>
      <dgm:spPr/>
    </dgm:pt>
    <dgm:pt modelId="{6CD1BB1A-FCDB-48FC-89A8-B830D602CC6E}" type="pres">
      <dgm:prSet presAssocID="{88F236D8-02DC-48B0-819B-7D0BFEB5E1E5}" presName="compNode" presStyleCnt="0"/>
      <dgm:spPr/>
    </dgm:pt>
    <dgm:pt modelId="{33CA625F-9F51-48EB-94F1-BFE84A98A5FC}" type="pres">
      <dgm:prSet presAssocID="{88F236D8-02DC-48B0-819B-7D0BFEB5E1E5}" presName="bgRect" presStyleLbl="bgShp" presStyleIdx="1" presStyleCnt="4"/>
      <dgm:spPr/>
    </dgm:pt>
    <dgm:pt modelId="{107E4D9A-DE53-492E-A53A-2BAA710E2117}" type="pres">
      <dgm:prSet presAssocID="{88F236D8-02DC-48B0-819B-7D0BFEB5E1E5}"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E262964C-CC31-4A36-B043-A07451095332}" type="pres">
      <dgm:prSet presAssocID="{88F236D8-02DC-48B0-819B-7D0BFEB5E1E5}" presName="spaceRect" presStyleCnt="0"/>
      <dgm:spPr/>
    </dgm:pt>
    <dgm:pt modelId="{54526B59-6A2F-492E-ABF2-BFAAD6A6AC1F}" type="pres">
      <dgm:prSet presAssocID="{88F236D8-02DC-48B0-819B-7D0BFEB5E1E5}" presName="parTx" presStyleLbl="revTx" presStyleIdx="1" presStyleCnt="4">
        <dgm:presLayoutVars>
          <dgm:chMax val="0"/>
          <dgm:chPref val="0"/>
        </dgm:presLayoutVars>
      </dgm:prSet>
      <dgm:spPr/>
    </dgm:pt>
    <dgm:pt modelId="{89F90DA1-DAA4-4D1F-9F3C-AE68A5C9C96A}" type="pres">
      <dgm:prSet presAssocID="{25B96D18-051C-4188-B603-B912161D295E}" presName="sibTrans" presStyleCnt="0"/>
      <dgm:spPr/>
    </dgm:pt>
    <dgm:pt modelId="{3E6F63B7-1811-47F8-B888-6BCA2A3DFDD4}" type="pres">
      <dgm:prSet presAssocID="{DF142426-0EFE-42E0-8228-6130F91AA7DE}" presName="compNode" presStyleCnt="0"/>
      <dgm:spPr/>
    </dgm:pt>
    <dgm:pt modelId="{985C680F-F63B-442F-B42E-405458B6B051}" type="pres">
      <dgm:prSet presAssocID="{DF142426-0EFE-42E0-8228-6130F91AA7DE}" presName="bgRect" presStyleLbl="bgShp" presStyleIdx="2" presStyleCnt="4"/>
      <dgm:spPr/>
    </dgm:pt>
    <dgm:pt modelId="{F98AB81D-CE0F-4224-9FDA-A321A2D3F2F2}" type="pres">
      <dgm:prSet presAssocID="{DF142426-0EFE-42E0-8228-6130F91AA7DE}"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oney"/>
        </a:ext>
      </dgm:extLst>
    </dgm:pt>
    <dgm:pt modelId="{C0CBE4FE-C68B-40B3-9F42-3E3A783733BD}" type="pres">
      <dgm:prSet presAssocID="{DF142426-0EFE-42E0-8228-6130F91AA7DE}" presName="spaceRect" presStyleCnt="0"/>
      <dgm:spPr/>
    </dgm:pt>
    <dgm:pt modelId="{7F5D6FC9-A498-490B-8EEA-DD03E75B02B4}" type="pres">
      <dgm:prSet presAssocID="{DF142426-0EFE-42E0-8228-6130F91AA7DE}" presName="parTx" presStyleLbl="revTx" presStyleIdx="2" presStyleCnt="4">
        <dgm:presLayoutVars>
          <dgm:chMax val="0"/>
          <dgm:chPref val="0"/>
        </dgm:presLayoutVars>
      </dgm:prSet>
      <dgm:spPr/>
    </dgm:pt>
    <dgm:pt modelId="{76BE3544-E25F-4AA0-92A2-9EEF93DB647C}" type="pres">
      <dgm:prSet presAssocID="{DA532924-D4A8-40B8-A422-46EB0CEF8AEE}" presName="sibTrans" presStyleCnt="0"/>
      <dgm:spPr/>
    </dgm:pt>
    <dgm:pt modelId="{9DBBD7B7-1570-44F6-8126-D88B365B01B6}" type="pres">
      <dgm:prSet presAssocID="{3CAEE745-5098-4347-825B-803E8F364823}" presName="compNode" presStyleCnt="0"/>
      <dgm:spPr/>
    </dgm:pt>
    <dgm:pt modelId="{F815AA3D-5AE4-4747-B8DA-7E2B8BCBE81D}" type="pres">
      <dgm:prSet presAssocID="{3CAEE745-5098-4347-825B-803E8F364823}" presName="bgRect" presStyleLbl="bgShp" presStyleIdx="3" presStyleCnt="4"/>
      <dgm:spPr/>
    </dgm:pt>
    <dgm:pt modelId="{CD993FEE-33D8-488A-938C-2F67796130A6}" type="pres">
      <dgm:prSet presAssocID="{3CAEE745-5098-4347-825B-803E8F364823}"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Judge"/>
        </a:ext>
      </dgm:extLst>
    </dgm:pt>
    <dgm:pt modelId="{560CD9F1-8E00-4379-9C97-13F354EEEB01}" type="pres">
      <dgm:prSet presAssocID="{3CAEE745-5098-4347-825B-803E8F364823}" presName="spaceRect" presStyleCnt="0"/>
      <dgm:spPr/>
    </dgm:pt>
    <dgm:pt modelId="{84C3667F-2540-4B84-BF90-CC1245409C0F}" type="pres">
      <dgm:prSet presAssocID="{3CAEE745-5098-4347-825B-803E8F364823}" presName="parTx" presStyleLbl="revTx" presStyleIdx="3" presStyleCnt="4">
        <dgm:presLayoutVars>
          <dgm:chMax val="0"/>
          <dgm:chPref val="0"/>
        </dgm:presLayoutVars>
      </dgm:prSet>
      <dgm:spPr/>
    </dgm:pt>
  </dgm:ptLst>
  <dgm:cxnLst>
    <dgm:cxn modelId="{22FBC942-0C7B-45D5-A750-BF88A5074B7B}" type="presOf" srcId="{DF142426-0EFE-42E0-8228-6130F91AA7DE}" destId="{7F5D6FC9-A498-490B-8EEA-DD03E75B02B4}" srcOrd="0" destOrd="0" presId="urn:microsoft.com/office/officeart/2018/2/layout/IconVerticalSolidList"/>
    <dgm:cxn modelId="{6C4F5D6E-5FAE-434E-8AFA-E9800B56FABE}" srcId="{5E3E1BFD-C3DE-4077-896F-1F67E740E3DA}" destId="{DF142426-0EFE-42E0-8228-6130F91AA7DE}" srcOrd="2" destOrd="0" parTransId="{22200BF6-5F85-414D-B38D-000BD5097D98}" sibTransId="{DA532924-D4A8-40B8-A422-46EB0CEF8AEE}"/>
    <dgm:cxn modelId="{6F64448D-00EE-4812-A9D8-072047FB1304}" type="presOf" srcId="{5E3E1BFD-C3DE-4077-896F-1F67E740E3DA}" destId="{69B10777-A8E0-4B90-8D22-CBD150DDF420}" srcOrd="0" destOrd="0" presId="urn:microsoft.com/office/officeart/2018/2/layout/IconVerticalSolidList"/>
    <dgm:cxn modelId="{966D2DB3-DAAD-4330-AA64-A531D2A51937}" type="presOf" srcId="{96C43588-EB0D-4E33-AC99-C27C99EC4AD3}" destId="{3F220836-1F43-419E-B7C0-A70DF7DF3085}" srcOrd="0" destOrd="0" presId="urn:microsoft.com/office/officeart/2018/2/layout/IconVerticalSolidList"/>
    <dgm:cxn modelId="{BEEC4AC5-146E-47D5-9202-B2CFF21F34A2}" srcId="{5E3E1BFD-C3DE-4077-896F-1F67E740E3DA}" destId="{88F236D8-02DC-48B0-819B-7D0BFEB5E1E5}" srcOrd="1" destOrd="0" parTransId="{9650731E-18C5-4DDE-862A-62E5BD34E9FA}" sibTransId="{25B96D18-051C-4188-B603-B912161D295E}"/>
    <dgm:cxn modelId="{715F81D7-E3FA-4430-A465-3ABD02D22A55}" srcId="{5E3E1BFD-C3DE-4077-896F-1F67E740E3DA}" destId="{96C43588-EB0D-4E33-AC99-C27C99EC4AD3}" srcOrd="0" destOrd="0" parTransId="{6A132A93-EF0E-43D5-8B26-95653F6A87F6}" sibTransId="{FC88240E-7867-48E4-B4A8-F9AFEC0B63F8}"/>
    <dgm:cxn modelId="{9A9425E5-6B0A-4286-AA17-6FC6BB61E8D3}" type="presOf" srcId="{88F236D8-02DC-48B0-819B-7D0BFEB5E1E5}" destId="{54526B59-6A2F-492E-ABF2-BFAAD6A6AC1F}" srcOrd="0" destOrd="0" presId="urn:microsoft.com/office/officeart/2018/2/layout/IconVerticalSolidList"/>
    <dgm:cxn modelId="{623D7CF8-395D-4E7C-ACB9-FC6DCC020983}" type="presOf" srcId="{3CAEE745-5098-4347-825B-803E8F364823}" destId="{84C3667F-2540-4B84-BF90-CC1245409C0F}" srcOrd="0" destOrd="0" presId="urn:microsoft.com/office/officeart/2018/2/layout/IconVerticalSolidList"/>
    <dgm:cxn modelId="{AC2944FD-82E5-4AA1-ACE4-8B5900B5B36D}" srcId="{5E3E1BFD-C3DE-4077-896F-1F67E740E3DA}" destId="{3CAEE745-5098-4347-825B-803E8F364823}" srcOrd="3" destOrd="0" parTransId="{4752604F-E80F-4E8B-9DFE-E264CB2B3206}" sibTransId="{E9E734AE-F78F-4EAE-A941-1E0699C072E2}"/>
    <dgm:cxn modelId="{9506AA1B-F7F8-4846-96F7-BD3503C221B1}" type="presParOf" srcId="{69B10777-A8E0-4B90-8D22-CBD150DDF420}" destId="{ABD462C4-77AE-410A-9D4D-A511E7DB8289}" srcOrd="0" destOrd="0" presId="urn:microsoft.com/office/officeart/2018/2/layout/IconVerticalSolidList"/>
    <dgm:cxn modelId="{6828F357-AEAE-40B0-A79A-3B3C8348A722}" type="presParOf" srcId="{ABD462C4-77AE-410A-9D4D-A511E7DB8289}" destId="{98F8AA9E-1A97-4A93-B783-2494838E4AB9}" srcOrd="0" destOrd="0" presId="urn:microsoft.com/office/officeart/2018/2/layout/IconVerticalSolidList"/>
    <dgm:cxn modelId="{D5459BE5-3CC5-4C45-A844-B12676FC0868}" type="presParOf" srcId="{ABD462C4-77AE-410A-9D4D-A511E7DB8289}" destId="{F6A93692-3A02-498B-B009-2E1E404EE69B}" srcOrd="1" destOrd="0" presId="urn:microsoft.com/office/officeart/2018/2/layout/IconVerticalSolidList"/>
    <dgm:cxn modelId="{392BA338-0970-418E-9A7A-3CB7C95F1209}" type="presParOf" srcId="{ABD462C4-77AE-410A-9D4D-A511E7DB8289}" destId="{4371FA43-1F12-45C7-A84B-5D9C5C21A32D}" srcOrd="2" destOrd="0" presId="urn:microsoft.com/office/officeart/2018/2/layout/IconVerticalSolidList"/>
    <dgm:cxn modelId="{1F4897DF-AAE8-4D5D-99FF-8B65ED5DE991}" type="presParOf" srcId="{ABD462C4-77AE-410A-9D4D-A511E7DB8289}" destId="{3F220836-1F43-419E-B7C0-A70DF7DF3085}" srcOrd="3" destOrd="0" presId="urn:microsoft.com/office/officeart/2018/2/layout/IconVerticalSolidList"/>
    <dgm:cxn modelId="{E0CC4550-F949-4BA7-B0C2-79E026E3537E}" type="presParOf" srcId="{69B10777-A8E0-4B90-8D22-CBD150DDF420}" destId="{EA38B33A-24E9-4E7E-B440-0CE0C7853A4C}" srcOrd="1" destOrd="0" presId="urn:microsoft.com/office/officeart/2018/2/layout/IconVerticalSolidList"/>
    <dgm:cxn modelId="{72D6318F-4666-4F13-8066-32BF3056525C}" type="presParOf" srcId="{69B10777-A8E0-4B90-8D22-CBD150DDF420}" destId="{6CD1BB1A-FCDB-48FC-89A8-B830D602CC6E}" srcOrd="2" destOrd="0" presId="urn:microsoft.com/office/officeart/2018/2/layout/IconVerticalSolidList"/>
    <dgm:cxn modelId="{7A1EC638-3E50-4D8F-B3FB-B85BFCDC3485}" type="presParOf" srcId="{6CD1BB1A-FCDB-48FC-89A8-B830D602CC6E}" destId="{33CA625F-9F51-48EB-94F1-BFE84A98A5FC}" srcOrd="0" destOrd="0" presId="urn:microsoft.com/office/officeart/2018/2/layout/IconVerticalSolidList"/>
    <dgm:cxn modelId="{26A61C19-D211-4BE9-A878-93F4E47473B9}" type="presParOf" srcId="{6CD1BB1A-FCDB-48FC-89A8-B830D602CC6E}" destId="{107E4D9A-DE53-492E-A53A-2BAA710E2117}" srcOrd="1" destOrd="0" presId="urn:microsoft.com/office/officeart/2018/2/layout/IconVerticalSolidList"/>
    <dgm:cxn modelId="{4B70AFAF-E9E2-44B7-A7E8-1A18F1A99C85}" type="presParOf" srcId="{6CD1BB1A-FCDB-48FC-89A8-B830D602CC6E}" destId="{E262964C-CC31-4A36-B043-A07451095332}" srcOrd="2" destOrd="0" presId="urn:microsoft.com/office/officeart/2018/2/layout/IconVerticalSolidList"/>
    <dgm:cxn modelId="{BB2EF554-AABC-4D5C-88AA-255AD1958EEB}" type="presParOf" srcId="{6CD1BB1A-FCDB-48FC-89A8-B830D602CC6E}" destId="{54526B59-6A2F-492E-ABF2-BFAAD6A6AC1F}" srcOrd="3" destOrd="0" presId="urn:microsoft.com/office/officeart/2018/2/layout/IconVerticalSolidList"/>
    <dgm:cxn modelId="{89B6E96A-7819-4B8D-9016-EB4DABA6A5E7}" type="presParOf" srcId="{69B10777-A8E0-4B90-8D22-CBD150DDF420}" destId="{89F90DA1-DAA4-4D1F-9F3C-AE68A5C9C96A}" srcOrd="3" destOrd="0" presId="urn:microsoft.com/office/officeart/2018/2/layout/IconVerticalSolidList"/>
    <dgm:cxn modelId="{E5762E7E-2D91-4454-8B27-0D5CEA10850E}" type="presParOf" srcId="{69B10777-A8E0-4B90-8D22-CBD150DDF420}" destId="{3E6F63B7-1811-47F8-B888-6BCA2A3DFDD4}" srcOrd="4" destOrd="0" presId="urn:microsoft.com/office/officeart/2018/2/layout/IconVerticalSolidList"/>
    <dgm:cxn modelId="{EE63955D-D959-4547-8630-FF390135FCA4}" type="presParOf" srcId="{3E6F63B7-1811-47F8-B888-6BCA2A3DFDD4}" destId="{985C680F-F63B-442F-B42E-405458B6B051}" srcOrd="0" destOrd="0" presId="urn:microsoft.com/office/officeart/2018/2/layout/IconVerticalSolidList"/>
    <dgm:cxn modelId="{E141F320-7985-4C19-8103-2CFD2DF5D370}" type="presParOf" srcId="{3E6F63B7-1811-47F8-B888-6BCA2A3DFDD4}" destId="{F98AB81D-CE0F-4224-9FDA-A321A2D3F2F2}" srcOrd="1" destOrd="0" presId="urn:microsoft.com/office/officeart/2018/2/layout/IconVerticalSolidList"/>
    <dgm:cxn modelId="{E38A7682-84D0-4AD0-986F-211631CC3B86}" type="presParOf" srcId="{3E6F63B7-1811-47F8-B888-6BCA2A3DFDD4}" destId="{C0CBE4FE-C68B-40B3-9F42-3E3A783733BD}" srcOrd="2" destOrd="0" presId="urn:microsoft.com/office/officeart/2018/2/layout/IconVerticalSolidList"/>
    <dgm:cxn modelId="{E290B23A-BD6A-4921-A7EB-40C463BD10B9}" type="presParOf" srcId="{3E6F63B7-1811-47F8-B888-6BCA2A3DFDD4}" destId="{7F5D6FC9-A498-490B-8EEA-DD03E75B02B4}" srcOrd="3" destOrd="0" presId="urn:microsoft.com/office/officeart/2018/2/layout/IconVerticalSolidList"/>
    <dgm:cxn modelId="{F3599989-C4B2-43F8-B130-08A57FBDD64D}" type="presParOf" srcId="{69B10777-A8E0-4B90-8D22-CBD150DDF420}" destId="{76BE3544-E25F-4AA0-92A2-9EEF93DB647C}" srcOrd="5" destOrd="0" presId="urn:microsoft.com/office/officeart/2018/2/layout/IconVerticalSolidList"/>
    <dgm:cxn modelId="{1895A4D9-283A-46AD-A5D7-322ECED36912}" type="presParOf" srcId="{69B10777-A8E0-4B90-8D22-CBD150DDF420}" destId="{9DBBD7B7-1570-44F6-8126-D88B365B01B6}" srcOrd="6" destOrd="0" presId="urn:microsoft.com/office/officeart/2018/2/layout/IconVerticalSolidList"/>
    <dgm:cxn modelId="{CFB162C6-B43C-449D-86CA-651A2D362C57}" type="presParOf" srcId="{9DBBD7B7-1570-44F6-8126-D88B365B01B6}" destId="{F815AA3D-5AE4-4747-B8DA-7E2B8BCBE81D}" srcOrd="0" destOrd="0" presId="urn:microsoft.com/office/officeart/2018/2/layout/IconVerticalSolidList"/>
    <dgm:cxn modelId="{8947E225-6C4B-411D-8D3E-2441380D3018}" type="presParOf" srcId="{9DBBD7B7-1570-44F6-8126-D88B365B01B6}" destId="{CD993FEE-33D8-488A-938C-2F67796130A6}" srcOrd="1" destOrd="0" presId="urn:microsoft.com/office/officeart/2018/2/layout/IconVerticalSolidList"/>
    <dgm:cxn modelId="{6FE29864-B51E-46DF-9C76-7A06EBBD72BE}" type="presParOf" srcId="{9DBBD7B7-1570-44F6-8126-D88B365B01B6}" destId="{560CD9F1-8E00-4379-9C97-13F354EEEB01}" srcOrd="2" destOrd="0" presId="urn:microsoft.com/office/officeart/2018/2/layout/IconVerticalSolidList"/>
    <dgm:cxn modelId="{959D60DC-3946-4AC8-B3A4-110EEB6BD71E}" type="presParOf" srcId="{9DBBD7B7-1570-44F6-8126-D88B365B01B6}" destId="{84C3667F-2540-4B84-BF90-CC1245409C0F}"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109C215-763C-4F23-913F-44B518B7CC4C}"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98736CE2-BC72-4E38-8088-8C2DED6DC17A}">
      <dgm:prSet/>
      <dgm:spPr/>
      <dgm:t>
        <a:bodyPr/>
        <a:lstStyle/>
        <a:p>
          <a:r>
            <a:rPr lang="en-US" baseline="0"/>
            <a:t>Retains each version by tracking ALL changes</a:t>
          </a:r>
          <a:endParaRPr lang="en-US"/>
        </a:p>
      </dgm:t>
    </dgm:pt>
    <dgm:pt modelId="{8980CEBD-435D-4D87-9548-AF314B6D5B72}" type="parTrans" cxnId="{58D2BA71-EE05-42BD-A8AD-8B1EC218B490}">
      <dgm:prSet/>
      <dgm:spPr/>
      <dgm:t>
        <a:bodyPr/>
        <a:lstStyle/>
        <a:p>
          <a:endParaRPr lang="en-US"/>
        </a:p>
      </dgm:t>
    </dgm:pt>
    <dgm:pt modelId="{433A8ADF-B556-46EB-8A3D-D5274752F123}" type="sibTrans" cxnId="{58D2BA71-EE05-42BD-A8AD-8B1EC218B490}">
      <dgm:prSet/>
      <dgm:spPr/>
      <dgm:t>
        <a:bodyPr/>
        <a:lstStyle/>
        <a:p>
          <a:endParaRPr lang="en-US"/>
        </a:p>
      </dgm:t>
    </dgm:pt>
    <dgm:pt modelId="{4A66A44A-DF2E-44F8-89F8-AF48AAD627F9}">
      <dgm:prSet/>
      <dgm:spPr/>
      <dgm:t>
        <a:bodyPr/>
        <a:lstStyle/>
        <a:p>
          <a:r>
            <a:rPr lang="en-US" baseline="0"/>
            <a:t>Displays exact changes</a:t>
          </a:r>
          <a:endParaRPr lang="en-US"/>
        </a:p>
      </dgm:t>
    </dgm:pt>
    <dgm:pt modelId="{76278D2E-C895-4996-B9BF-44FEBA8F9C81}" type="parTrans" cxnId="{38965DE1-401F-4726-82BA-C4BBCC0A5C48}">
      <dgm:prSet/>
      <dgm:spPr/>
      <dgm:t>
        <a:bodyPr/>
        <a:lstStyle/>
        <a:p>
          <a:endParaRPr lang="en-US"/>
        </a:p>
      </dgm:t>
    </dgm:pt>
    <dgm:pt modelId="{B36D8B71-6105-4016-B62C-41BB0D24CE18}" type="sibTrans" cxnId="{38965DE1-401F-4726-82BA-C4BBCC0A5C48}">
      <dgm:prSet/>
      <dgm:spPr/>
      <dgm:t>
        <a:bodyPr/>
        <a:lstStyle/>
        <a:p>
          <a:endParaRPr lang="en-US"/>
        </a:p>
      </dgm:t>
    </dgm:pt>
    <dgm:pt modelId="{44B0EBBB-E29E-465B-AC4C-3A7AC3107534}">
      <dgm:prSet/>
      <dgm:spPr/>
      <dgm:t>
        <a:bodyPr/>
        <a:lstStyle/>
        <a:p>
          <a:r>
            <a:rPr lang="en-US" baseline="0"/>
            <a:t>Undo is holistic and reverts</a:t>
          </a:r>
          <a:endParaRPr lang="en-US"/>
        </a:p>
      </dgm:t>
    </dgm:pt>
    <dgm:pt modelId="{DFCAAA60-FE9F-4E0C-8F01-0FE70BE30D58}" type="parTrans" cxnId="{E3D489B6-9036-4F36-BF3C-F96AFB3C959A}">
      <dgm:prSet/>
      <dgm:spPr/>
      <dgm:t>
        <a:bodyPr/>
        <a:lstStyle/>
        <a:p>
          <a:endParaRPr lang="en-US"/>
        </a:p>
      </dgm:t>
    </dgm:pt>
    <dgm:pt modelId="{E9D26A1F-2F89-4B39-9646-C6AC1C955F69}" type="sibTrans" cxnId="{E3D489B6-9036-4F36-BF3C-F96AFB3C959A}">
      <dgm:prSet/>
      <dgm:spPr/>
      <dgm:t>
        <a:bodyPr/>
        <a:lstStyle/>
        <a:p>
          <a:endParaRPr lang="en-US"/>
        </a:p>
      </dgm:t>
    </dgm:pt>
    <dgm:pt modelId="{AF7DA378-4D51-451E-9ED9-5734B87A9C4D}" type="pres">
      <dgm:prSet presAssocID="{4109C215-763C-4F23-913F-44B518B7CC4C}" presName="root" presStyleCnt="0">
        <dgm:presLayoutVars>
          <dgm:dir/>
          <dgm:resizeHandles val="exact"/>
        </dgm:presLayoutVars>
      </dgm:prSet>
      <dgm:spPr/>
    </dgm:pt>
    <dgm:pt modelId="{9A5396EF-2CF6-4DAC-BE57-9AFB1A18DDEB}" type="pres">
      <dgm:prSet presAssocID="{98736CE2-BC72-4E38-8088-8C2DED6DC17A}" presName="compNode" presStyleCnt="0"/>
      <dgm:spPr/>
    </dgm:pt>
    <dgm:pt modelId="{7450CA60-3CF5-408C-AD8B-C484446CD2B8}" type="pres">
      <dgm:prSet presAssocID="{98736CE2-BC72-4E38-8088-8C2DED6DC17A}" presName="bgRect" presStyleLbl="bgShp" presStyleIdx="0" presStyleCnt="3"/>
      <dgm:spPr/>
    </dgm:pt>
    <dgm:pt modelId="{CD3318AA-7008-4D6A-AC5E-FF4CBD0EE59B}" type="pres">
      <dgm:prSet presAssocID="{98736CE2-BC72-4E38-8088-8C2DED6DC17A}"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ingle gear"/>
        </a:ext>
      </dgm:extLst>
    </dgm:pt>
    <dgm:pt modelId="{402A7C52-12B4-4C18-B530-1B68E665AE22}" type="pres">
      <dgm:prSet presAssocID="{98736CE2-BC72-4E38-8088-8C2DED6DC17A}" presName="spaceRect" presStyleCnt="0"/>
      <dgm:spPr/>
    </dgm:pt>
    <dgm:pt modelId="{EA6AC8F3-D8A4-4BE2-9AB0-80F6410602B8}" type="pres">
      <dgm:prSet presAssocID="{98736CE2-BC72-4E38-8088-8C2DED6DC17A}" presName="parTx" presStyleLbl="revTx" presStyleIdx="0" presStyleCnt="3">
        <dgm:presLayoutVars>
          <dgm:chMax val="0"/>
          <dgm:chPref val="0"/>
        </dgm:presLayoutVars>
      </dgm:prSet>
      <dgm:spPr/>
    </dgm:pt>
    <dgm:pt modelId="{5106E875-8A77-4C37-8479-4566B408E9A9}" type="pres">
      <dgm:prSet presAssocID="{433A8ADF-B556-46EB-8A3D-D5274752F123}" presName="sibTrans" presStyleCnt="0"/>
      <dgm:spPr/>
    </dgm:pt>
    <dgm:pt modelId="{5275980F-62AA-4410-8292-D7B537CA596F}" type="pres">
      <dgm:prSet presAssocID="{4A66A44A-DF2E-44F8-89F8-AF48AAD627F9}" presName="compNode" presStyleCnt="0"/>
      <dgm:spPr/>
    </dgm:pt>
    <dgm:pt modelId="{EE10086C-8167-43A2-9714-7DC34630140C}" type="pres">
      <dgm:prSet presAssocID="{4A66A44A-DF2E-44F8-89F8-AF48AAD627F9}" presName="bgRect" presStyleLbl="bgShp" presStyleIdx="1" presStyleCnt="3"/>
      <dgm:spPr/>
    </dgm:pt>
    <dgm:pt modelId="{F1B7A885-66B0-41F8-94E7-8D0F721D7E53}" type="pres">
      <dgm:prSet presAssocID="{4A66A44A-DF2E-44F8-89F8-AF48AAD627F9}"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agnifying glass"/>
        </a:ext>
      </dgm:extLst>
    </dgm:pt>
    <dgm:pt modelId="{3044D433-EADA-4256-9CCD-8D6878947778}" type="pres">
      <dgm:prSet presAssocID="{4A66A44A-DF2E-44F8-89F8-AF48AAD627F9}" presName="spaceRect" presStyleCnt="0"/>
      <dgm:spPr/>
    </dgm:pt>
    <dgm:pt modelId="{6F109E04-FE43-43D4-AEA5-5AC0D17154AE}" type="pres">
      <dgm:prSet presAssocID="{4A66A44A-DF2E-44F8-89F8-AF48AAD627F9}" presName="parTx" presStyleLbl="revTx" presStyleIdx="1" presStyleCnt="3">
        <dgm:presLayoutVars>
          <dgm:chMax val="0"/>
          <dgm:chPref val="0"/>
        </dgm:presLayoutVars>
      </dgm:prSet>
      <dgm:spPr/>
    </dgm:pt>
    <dgm:pt modelId="{00DDB154-E4F8-4870-ADAE-A9FD00B54BE8}" type="pres">
      <dgm:prSet presAssocID="{B36D8B71-6105-4016-B62C-41BB0D24CE18}" presName="sibTrans" presStyleCnt="0"/>
      <dgm:spPr/>
    </dgm:pt>
    <dgm:pt modelId="{40EE4039-52E4-4147-A106-50E47FB08E35}" type="pres">
      <dgm:prSet presAssocID="{44B0EBBB-E29E-465B-AC4C-3A7AC3107534}" presName="compNode" presStyleCnt="0"/>
      <dgm:spPr/>
    </dgm:pt>
    <dgm:pt modelId="{27C6F1DC-FA98-4AF9-B8E4-5D23CA1FC499}" type="pres">
      <dgm:prSet presAssocID="{44B0EBBB-E29E-465B-AC4C-3A7AC3107534}" presName="bgRect" presStyleLbl="bgShp" presStyleIdx="2" presStyleCnt="3"/>
      <dgm:spPr/>
    </dgm:pt>
    <dgm:pt modelId="{C6764867-D8A9-4240-B23C-50DF6B79524B}" type="pres">
      <dgm:prSet presAssocID="{44B0EBBB-E29E-465B-AC4C-3A7AC3107534}"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editation"/>
        </a:ext>
      </dgm:extLst>
    </dgm:pt>
    <dgm:pt modelId="{93CCFAEF-C3E5-49CF-83CB-91C2EEFBB81B}" type="pres">
      <dgm:prSet presAssocID="{44B0EBBB-E29E-465B-AC4C-3A7AC3107534}" presName="spaceRect" presStyleCnt="0"/>
      <dgm:spPr/>
    </dgm:pt>
    <dgm:pt modelId="{2E643B9A-8C91-451D-85C4-CD6A09477C02}" type="pres">
      <dgm:prSet presAssocID="{44B0EBBB-E29E-465B-AC4C-3A7AC3107534}" presName="parTx" presStyleLbl="revTx" presStyleIdx="2" presStyleCnt="3">
        <dgm:presLayoutVars>
          <dgm:chMax val="0"/>
          <dgm:chPref val="0"/>
        </dgm:presLayoutVars>
      </dgm:prSet>
      <dgm:spPr/>
    </dgm:pt>
  </dgm:ptLst>
  <dgm:cxnLst>
    <dgm:cxn modelId="{E5FFC120-363F-4060-B260-C7FBBE5B94CC}" type="presOf" srcId="{98736CE2-BC72-4E38-8088-8C2DED6DC17A}" destId="{EA6AC8F3-D8A4-4BE2-9AB0-80F6410602B8}" srcOrd="0" destOrd="0" presId="urn:microsoft.com/office/officeart/2018/2/layout/IconVerticalSolidList"/>
    <dgm:cxn modelId="{58D2BA71-EE05-42BD-A8AD-8B1EC218B490}" srcId="{4109C215-763C-4F23-913F-44B518B7CC4C}" destId="{98736CE2-BC72-4E38-8088-8C2DED6DC17A}" srcOrd="0" destOrd="0" parTransId="{8980CEBD-435D-4D87-9548-AF314B6D5B72}" sibTransId="{433A8ADF-B556-46EB-8A3D-D5274752F123}"/>
    <dgm:cxn modelId="{BA83EBAA-0337-48C2-AC6E-AB911E93746B}" type="presOf" srcId="{4109C215-763C-4F23-913F-44B518B7CC4C}" destId="{AF7DA378-4D51-451E-9ED9-5734B87A9C4D}" srcOrd="0" destOrd="0" presId="urn:microsoft.com/office/officeart/2018/2/layout/IconVerticalSolidList"/>
    <dgm:cxn modelId="{E3D489B6-9036-4F36-BF3C-F96AFB3C959A}" srcId="{4109C215-763C-4F23-913F-44B518B7CC4C}" destId="{44B0EBBB-E29E-465B-AC4C-3A7AC3107534}" srcOrd="2" destOrd="0" parTransId="{DFCAAA60-FE9F-4E0C-8F01-0FE70BE30D58}" sibTransId="{E9D26A1F-2F89-4B39-9646-C6AC1C955F69}"/>
    <dgm:cxn modelId="{350C9EC0-60A0-4622-A8E9-6C927E057A6B}" type="presOf" srcId="{4A66A44A-DF2E-44F8-89F8-AF48AAD627F9}" destId="{6F109E04-FE43-43D4-AEA5-5AC0D17154AE}" srcOrd="0" destOrd="0" presId="urn:microsoft.com/office/officeart/2018/2/layout/IconVerticalSolidList"/>
    <dgm:cxn modelId="{38965DE1-401F-4726-82BA-C4BBCC0A5C48}" srcId="{4109C215-763C-4F23-913F-44B518B7CC4C}" destId="{4A66A44A-DF2E-44F8-89F8-AF48AAD627F9}" srcOrd="1" destOrd="0" parTransId="{76278D2E-C895-4996-B9BF-44FEBA8F9C81}" sibTransId="{B36D8B71-6105-4016-B62C-41BB0D24CE18}"/>
    <dgm:cxn modelId="{E14D41EF-C0BA-4E86-B9BA-085476F07817}" type="presOf" srcId="{44B0EBBB-E29E-465B-AC4C-3A7AC3107534}" destId="{2E643B9A-8C91-451D-85C4-CD6A09477C02}" srcOrd="0" destOrd="0" presId="urn:microsoft.com/office/officeart/2018/2/layout/IconVerticalSolidList"/>
    <dgm:cxn modelId="{4B3BFB6F-F0EF-4078-95FD-B7FEAF26AD6D}" type="presParOf" srcId="{AF7DA378-4D51-451E-9ED9-5734B87A9C4D}" destId="{9A5396EF-2CF6-4DAC-BE57-9AFB1A18DDEB}" srcOrd="0" destOrd="0" presId="urn:microsoft.com/office/officeart/2018/2/layout/IconVerticalSolidList"/>
    <dgm:cxn modelId="{AA86E2CD-3612-4B16-864C-7BACB42EE498}" type="presParOf" srcId="{9A5396EF-2CF6-4DAC-BE57-9AFB1A18DDEB}" destId="{7450CA60-3CF5-408C-AD8B-C484446CD2B8}" srcOrd="0" destOrd="0" presId="urn:microsoft.com/office/officeart/2018/2/layout/IconVerticalSolidList"/>
    <dgm:cxn modelId="{0DFF5BF9-04B8-4F92-BD67-19396ED28C98}" type="presParOf" srcId="{9A5396EF-2CF6-4DAC-BE57-9AFB1A18DDEB}" destId="{CD3318AA-7008-4D6A-AC5E-FF4CBD0EE59B}" srcOrd="1" destOrd="0" presId="urn:microsoft.com/office/officeart/2018/2/layout/IconVerticalSolidList"/>
    <dgm:cxn modelId="{A2DA105C-5AAE-43EE-87E3-A45129E61F70}" type="presParOf" srcId="{9A5396EF-2CF6-4DAC-BE57-9AFB1A18DDEB}" destId="{402A7C52-12B4-4C18-B530-1B68E665AE22}" srcOrd="2" destOrd="0" presId="urn:microsoft.com/office/officeart/2018/2/layout/IconVerticalSolidList"/>
    <dgm:cxn modelId="{B0FF9D01-4CCD-4EBC-8905-6967C053E5C3}" type="presParOf" srcId="{9A5396EF-2CF6-4DAC-BE57-9AFB1A18DDEB}" destId="{EA6AC8F3-D8A4-4BE2-9AB0-80F6410602B8}" srcOrd="3" destOrd="0" presId="urn:microsoft.com/office/officeart/2018/2/layout/IconVerticalSolidList"/>
    <dgm:cxn modelId="{9ACC0554-4231-4E3C-9DE3-91B5E56ABCC0}" type="presParOf" srcId="{AF7DA378-4D51-451E-9ED9-5734B87A9C4D}" destId="{5106E875-8A77-4C37-8479-4566B408E9A9}" srcOrd="1" destOrd="0" presId="urn:microsoft.com/office/officeart/2018/2/layout/IconVerticalSolidList"/>
    <dgm:cxn modelId="{1382BF41-857D-4AB5-8AE8-270DBC6003BF}" type="presParOf" srcId="{AF7DA378-4D51-451E-9ED9-5734B87A9C4D}" destId="{5275980F-62AA-4410-8292-D7B537CA596F}" srcOrd="2" destOrd="0" presId="urn:microsoft.com/office/officeart/2018/2/layout/IconVerticalSolidList"/>
    <dgm:cxn modelId="{01818B7C-8ED8-4086-9402-67E3DC4EC102}" type="presParOf" srcId="{5275980F-62AA-4410-8292-D7B537CA596F}" destId="{EE10086C-8167-43A2-9714-7DC34630140C}" srcOrd="0" destOrd="0" presId="urn:microsoft.com/office/officeart/2018/2/layout/IconVerticalSolidList"/>
    <dgm:cxn modelId="{31DDE9BC-2689-47A0-BBFE-3356D88E3B47}" type="presParOf" srcId="{5275980F-62AA-4410-8292-D7B537CA596F}" destId="{F1B7A885-66B0-41F8-94E7-8D0F721D7E53}" srcOrd="1" destOrd="0" presId="urn:microsoft.com/office/officeart/2018/2/layout/IconVerticalSolidList"/>
    <dgm:cxn modelId="{2D18041B-FACE-4450-8E79-28205CB0DAA0}" type="presParOf" srcId="{5275980F-62AA-4410-8292-D7B537CA596F}" destId="{3044D433-EADA-4256-9CCD-8D6878947778}" srcOrd="2" destOrd="0" presId="urn:microsoft.com/office/officeart/2018/2/layout/IconVerticalSolidList"/>
    <dgm:cxn modelId="{4C06C9C7-2C84-41E6-BAA2-BEDB8941A162}" type="presParOf" srcId="{5275980F-62AA-4410-8292-D7B537CA596F}" destId="{6F109E04-FE43-43D4-AEA5-5AC0D17154AE}" srcOrd="3" destOrd="0" presId="urn:microsoft.com/office/officeart/2018/2/layout/IconVerticalSolidList"/>
    <dgm:cxn modelId="{F79E6F5C-6C48-43EA-A2F1-BF64BFA06B8F}" type="presParOf" srcId="{AF7DA378-4D51-451E-9ED9-5734B87A9C4D}" destId="{00DDB154-E4F8-4870-ADAE-A9FD00B54BE8}" srcOrd="3" destOrd="0" presId="urn:microsoft.com/office/officeart/2018/2/layout/IconVerticalSolidList"/>
    <dgm:cxn modelId="{AC78BAB0-3EFE-4707-9628-A133312BE272}" type="presParOf" srcId="{AF7DA378-4D51-451E-9ED9-5734B87A9C4D}" destId="{40EE4039-52E4-4147-A106-50E47FB08E35}" srcOrd="4" destOrd="0" presId="urn:microsoft.com/office/officeart/2018/2/layout/IconVerticalSolidList"/>
    <dgm:cxn modelId="{3A8F9471-66CB-40B6-907F-30E6F0CAD890}" type="presParOf" srcId="{40EE4039-52E4-4147-A106-50E47FB08E35}" destId="{27C6F1DC-FA98-4AF9-B8E4-5D23CA1FC499}" srcOrd="0" destOrd="0" presId="urn:microsoft.com/office/officeart/2018/2/layout/IconVerticalSolidList"/>
    <dgm:cxn modelId="{F3ECF721-F5CD-4CD6-96D4-E7706E5DB5C1}" type="presParOf" srcId="{40EE4039-52E4-4147-A106-50E47FB08E35}" destId="{C6764867-D8A9-4240-B23C-50DF6B79524B}" srcOrd="1" destOrd="0" presId="urn:microsoft.com/office/officeart/2018/2/layout/IconVerticalSolidList"/>
    <dgm:cxn modelId="{B8C526B6-675A-42C5-B020-3660E7BBB9DD}" type="presParOf" srcId="{40EE4039-52E4-4147-A106-50E47FB08E35}" destId="{93CCFAEF-C3E5-49CF-83CB-91C2EEFBB81B}" srcOrd="2" destOrd="0" presId="urn:microsoft.com/office/officeart/2018/2/layout/IconVerticalSolidList"/>
    <dgm:cxn modelId="{E54521B0-2306-4D31-8C09-5E6D3567C9A8}" type="presParOf" srcId="{40EE4039-52E4-4147-A106-50E47FB08E35}" destId="{2E643B9A-8C91-451D-85C4-CD6A09477C02}"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3945292-3C36-4BD7-B204-EF83858C1F4D}" type="doc">
      <dgm:prSet loTypeId="urn:microsoft.com/office/officeart/2018/2/layout/IconCircleList" loCatId="icon" qsTypeId="urn:microsoft.com/office/officeart/2005/8/quickstyle/simple4" qsCatId="simple" csTypeId="urn:microsoft.com/office/officeart/2005/8/colors/colorful1" csCatId="colorful" phldr="1"/>
      <dgm:spPr/>
      <dgm:t>
        <a:bodyPr/>
        <a:lstStyle/>
        <a:p>
          <a:endParaRPr lang="en-US"/>
        </a:p>
      </dgm:t>
    </dgm:pt>
    <dgm:pt modelId="{36B34E8B-7D9E-47A2-ADA5-658B4C6F7DE9}">
      <dgm:prSet/>
      <dgm:spPr/>
      <dgm:t>
        <a:bodyPr/>
        <a:lstStyle/>
        <a:p>
          <a:pPr>
            <a:lnSpc>
              <a:spcPct val="100000"/>
            </a:lnSpc>
          </a:pPr>
          <a:r>
            <a:rPr lang="en-US"/>
            <a:t>A Git repository is created by using git init</a:t>
          </a:r>
        </a:p>
      </dgm:t>
    </dgm:pt>
    <dgm:pt modelId="{D5EBB4A2-BA98-44E5-A568-E711B9F3DD6B}" type="parTrans" cxnId="{4B2E748A-BCFB-4DCA-83CD-0DC43625BECB}">
      <dgm:prSet/>
      <dgm:spPr/>
      <dgm:t>
        <a:bodyPr/>
        <a:lstStyle/>
        <a:p>
          <a:endParaRPr lang="en-US"/>
        </a:p>
      </dgm:t>
    </dgm:pt>
    <dgm:pt modelId="{B9EE62F7-2501-4493-BE46-BA71596871C6}" type="sibTrans" cxnId="{4B2E748A-BCFB-4DCA-83CD-0DC43625BECB}">
      <dgm:prSet/>
      <dgm:spPr/>
      <dgm:t>
        <a:bodyPr/>
        <a:lstStyle/>
        <a:p>
          <a:pPr>
            <a:lnSpc>
              <a:spcPct val="100000"/>
            </a:lnSpc>
          </a:pPr>
          <a:endParaRPr lang="en-US"/>
        </a:p>
      </dgm:t>
    </dgm:pt>
    <dgm:pt modelId="{08D572F8-9E66-4E68-9806-0C71A6267138}">
      <dgm:prSet/>
      <dgm:spPr/>
      <dgm:t>
        <a:bodyPr/>
        <a:lstStyle/>
        <a:p>
          <a:pPr>
            <a:lnSpc>
              <a:spcPct val="100000"/>
            </a:lnSpc>
          </a:pPr>
          <a:r>
            <a:rPr lang="en-US"/>
            <a:t>Git creates a .git folder</a:t>
          </a:r>
        </a:p>
      </dgm:t>
    </dgm:pt>
    <dgm:pt modelId="{91F37ACB-387E-442C-8050-C7A33E07C2BF}" type="parTrans" cxnId="{5ABEDCAE-F6A0-47BF-9C8D-E33A0D3B982D}">
      <dgm:prSet/>
      <dgm:spPr/>
      <dgm:t>
        <a:bodyPr/>
        <a:lstStyle/>
        <a:p>
          <a:endParaRPr lang="en-US"/>
        </a:p>
      </dgm:t>
    </dgm:pt>
    <dgm:pt modelId="{01D707F6-F06F-4A2C-92DD-58E68F4ABEED}" type="sibTrans" cxnId="{5ABEDCAE-F6A0-47BF-9C8D-E33A0D3B982D}">
      <dgm:prSet/>
      <dgm:spPr/>
      <dgm:t>
        <a:bodyPr/>
        <a:lstStyle/>
        <a:p>
          <a:pPr>
            <a:lnSpc>
              <a:spcPct val="100000"/>
            </a:lnSpc>
          </a:pPr>
          <a:endParaRPr lang="en-US"/>
        </a:p>
      </dgm:t>
    </dgm:pt>
    <dgm:pt modelId="{87491B60-CE87-4964-AA1F-0461FCE315AC}">
      <dgm:prSet/>
      <dgm:spPr/>
      <dgm:t>
        <a:bodyPr/>
        <a:lstStyle/>
        <a:p>
          <a:pPr>
            <a:lnSpc>
              <a:spcPct val="100000"/>
            </a:lnSpc>
          </a:pPr>
          <a:r>
            <a:rPr lang="en-US"/>
            <a:t>.git folder contains information needed for Git to function</a:t>
          </a:r>
        </a:p>
      </dgm:t>
    </dgm:pt>
    <dgm:pt modelId="{79E47982-B42A-4DA8-80ED-03FECC82A28D}" type="parTrans" cxnId="{3FA5B8AF-1C85-4AC0-827C-5A5E6156D167}">
      <dgm:prSet/>
      <dgm:spPr/>
      <dgm:t>
        <a:bodyPr/>
        <a:lstStyle/>
        <a:p>
          <a:endParaRPr lang="en-US"/>
        </a:p>
      </dgm:t>
    </dgm:pt>
    <dgm:pt modelId="{BF1B7F1E-C9AE-4E5A-B62E-DFDB1C01195F}" type="sibTrans" cxnId="{3FA5B8AF-1C85-4AC0-827C-5A5E6156D167}">
      <dgm:prSet/>
      <dgm:spPr/>
      <dgm:t>
        <a:bodyPr/>
        <a:lstStyle/>
        <a:p>
          <a:pPr>
            <a:lnSpc>
              <a:spcPct val="100000"/>
            </a:lnSpc>
          </a:pPr>
          <a:endParaRPr lang="en-US"/>
        </a:p>
      </dgm:t>
    </dgm:pt>
    <dgm:pt modelId="{6510B392-E06C-45CE-8C57-99D908CB6F67}">
      <dgm:prSet/>
      <dgm:spPr/>
      <dgm:t>
        <a:bodyPr/>
        <a:lstStyle/>
        <a:p>
          <a:pPr>
            <a:lnSpc>
              <a:spcPct val="100000"/>
            </a:lnSpc>
          </a:pPr>
          <a:r>
            <a:rPr lang="en-US"/>
            <a:t>To remove Git, remove the .git folder and retain all project files</a:t>
          </a:r>
        </a:p>
      </dgm:t>
    </dgm:pt>
    <dgm:pt modelId="{29382FC4-2CB8-4EFA-B066-8A19A30FA925}" type="parTrans" cxnId="{830EC93F-D630-46B9-9F2A-64BB8867BF33}">
      <dgm:prSet/>
      <dgm:spPr/>
      <dgm:t>
        <a:bodyPr/>
        <a:lstStyle/>
        <a:p>
          <a:endParaRPr lang="en-US"/>
        </a:p>
      </dgm:t>
    </dgm:pt>
    <dgm:pt modelId="{4AA6F4DD-2EC0-4109-A642-F3CA53BD1E72}" type="sibTrans" cxnId="{830EC93F-D630-46B9-9F2A-64BB8867BF33}">
      <dgm:prSet/>
      <dgm:spPr/>
      <dgm:t>
        <a:bodyPr/>
        <a:lstStyle/>
        <a:p>
          <a:endParaRPr lang="en-US"/>
        </a:p>
      </dgm:t>
    </dgm:pt>
    <dgm:pt modelId="{3EBA28EC-5606-4C86-B1EB-5C65C0122EE2}" type="pres">
      <dgm:prSet presAssocID="{33945292-3C36-4BD7-B204-EF83858C1F4D}" presName="root" presStyleCnt="0">
        <dgm:presLayoutVars>
          <dgm:dir/>
          <dgm:resizeHandles val="exact"/>
        </dgm:presLayoutVars>
      </dgm:prSet>
      <dgm:spPr/>
    </dgm:pt>
    <dgm:pt modelId="{BB10DC98-8C53-4C46-8CF1-F75F082C54D0}" type="pres">
      <dgm:prSet presAssocID="{33945292-3C36-4BD7-B204-EF83858C1F4D}" presName="container" presStyleCnt="0">
        <dgm:presLayoutVars>
          <dgm:dir/>
          <dgm:resizeHandles val="exact"/>
        </dgm:presLayoutVars>
      </dgm:prSet>
      <dgm:spPr/>
    </dgm:pt>
    <dgm:pt modelId="{1E8D7B37-E1CE-47C7-9C62-5C874BE81E73}" type="pres">
      <dgm:prSet presAssocID="{36B34E8B-7D9E-47A2-ADA5-658B4C6F7DE9}" presName="compNode" presStyleCnt="0"/>
      <dgm:spPr/>
    </dgm:pt>
    <dgm:pt modelId="{E7104C5C-3F9B-400A-B186-47369747A778}" type="pres">
      <dgm:prSet presAssocID="{36B34E8B-7D9E-47A2-ADA5-658B4C6F7DE9}" presName="iconBgRect" presStyleLbl="bgShp" presStyleIdx="0" presStyleCnt="4"/>
      <dgm:spPr/>
    </dgm:pt>
    <dgm:pt modelId="{2DD82FE7-9410-48DD-902E-714D5B51B542}" type="pres">
      <dgm:prSet presAssocID="{36B34E8B-7D9E-47A2-ADA5-658B4C6F7DE9}"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Database"/>
        </a:ext>
      </dgm:extLst>
    </dgm:pt>
    <dgm:pt modelId="{B61039ED-35B6-42A5-AA5D-2494171A23F1}" type="pres">
      <dgm:prSet presAssocID="{36B34E8B-7D9E-47A2-ADA5-658B4C6F7DE9}" presName="spaceRect" presStyleCnt="0"/>
      <dgm:spPr/>
    </dgm:pt>
    <dgm:pt modelId="{B39BA93B-A292-40BE-8D07-1333CA3CDC54}" type="pres">
      <dgm:prSet presAssocID="{36B34E8B-7D9E-47A2-ADA5-658B4C6F7DE9}" presName="textRect" presStyleLbl="revTx" presStyleIdx="0" presStyleCnt="4">
        <dgm:presLayoutVars>
          <dgm:chMax val="1"/>
          <dgm:chPref val="1"/>
        </dgm:presLayoutVars>
      </dgm:prSet>
      <dgm:spPr/>
    </dgm:pt>
    <dgm:pt modelId="{6C43DB58-4BB0-4B79-98FC-541EFF99FDE8}" type="pres">
      <dgm:prSet presAssocID="{B9EE62F7-2501-4493-BE46-BA71596871C6}" presName="sibTrans" presStyleLbl="sibTrans2D1" presStyleIdx="0" presStyleCnt="0"/>
      <dgm:spPr/>
    </dgm:pt>
    <dgm:pt modelId="{7E754E63-F460-4E12-8361-10D62A803FB8}" type="pres">
      <dgm:prSet presAssocID="{08D572F8-9E66-4E68-9806-0C71A6267138}" presName="compNode" presStyleCnt="0"/>
      <dgm:spPr/>
    </dgm:pt>
    <dgm:pt modelId="{68EE4D5E-6996-47D9-870F-064D7903D211}" type="pres">
      <dgm:prSet presAssocID="{08D572F8-9E66-4E68-9806-0C71A6267138}" presName="iconBgRect" presStyleLbl="bgShp" presStyleIdx="1" presStyleCnt="4"/>
      <dgm:spPr/>
    </dgm:pt>
    <dgm:pt modelId="{00FB9E03-D519-4FE5-ABA9-4693974A32AF}" type="pres">
      <dgm:prSet presAssocID="{08D572F8-9E66-4E68-9806-0C71A6267138}"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Open Folder"/>
        </a:ext>
      </dgm:extLst>
    </dgm:pt>
    <dgm:pt modelId="{952BF2E7-BF18-4C8C-89BC-D3C46F249870}" type="pres">
      <dgm:prSet presAssocID="{08D572F8-9E66-4E68-9806-0C71A6267138}" presName="spaceRect" presStyleCnt="0"/>
      <dgm:spPr/>
    </dgm:pt>
    <dgm:pt modelId="{51590E78-F1DD-403D-BF6C-27951A3B6EAB}" type="pres">
      <dgm:prSet presAssocID="{08D572F8-9E66-4E68-9806-0C71A6267138}" presName="textRect" presStyleLbl="revTx" presStyleIdx="1" presStyleCnt="4">
        <dgm:presLayoutVars>
          <dgm:chMax val="1"/>
          <dgm:chPref val="1"/>
        </dgm:presLayoutVars>
      </dgm:prSet>
      <dgm:spPr/>
    </dgm:pt>
    <dgm:pt modelId="{BC825CFE-9C7A-43D0-9571-21199B3A4CE2}" type="pres">
      <dgm:prSet presAssocID="{01D707F6-F06F-4A2C-92DD-58E68F4ABEED}" presName="sibTrans" presStyleLbl="sibTrans2D1" presStyleIdx="0" presStyleCnt="0"/>
      <dgm:spPr/>
    </dgm:pt>
    <dgm:pt modelId="{328D1C8D-C142-4640-82BE-55C879503935}" type="pres">
      <dgm:prSet presAssocID="{87491B60-CE87-4964-AA1F-0461FCE315AC}" presName="compNode" presStyleCnt="0"/>
      <dgm:spPr/>
    </dgm:pt>
    <dgm:pt modelId="{EE77CAB7-3F2F-451E-8617-57F5DE15BBB5}" type="pres">
      <dgm:prSet presAssocID="{87491B60-CE87-4964-AA1F-0461FCE315AC}" presName="iconBgRect" presStyleLbl="bgShp" presStyleIdx="2" presStyleCnt="4"/>
      <dgm:spPr/>
    </dgm:pt>
    <dgm:pt modelId="{A295EE75-4149-48E9-AA64-D65F5D13115A}" type="pres">
      <dgm:prSet presAssocID="{87491B60-CE87-4964-AA1F-0461FCE315A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Document"/>
        </a:ext>
      </dgm:extLst>
    </dgm:pt>
    <dgm:pt modelId="{00A5FF49-E38A-444E-B1F3-C728208AA75A}" type="pres">
      <dgm:prSet presAssocID="{87491B60-CE87-4964-AA1F-0461FCE315AC}" presName="spaceRect" presStyleCnt="0"/>
      <dgm:spPr/>
    </dgm:pt>
    <dgm:pt modelId="{A27F5571-84D7-46B0-8CAA-540FD404FDE5}" type="pres">
      <dgm:prSet presAssocID="{87491B60-CE87-4964-AA1F-0461FCE315AC}" presName="textRect" presStyleLbl="revTx" presStyleIdx="2" presStyleCnt="4">
        <dgm:presLayoutVars>
          <dgm:chMax val="1"/>
          <dgm:chPref val="1"/>
        </dgm:presLayoutVars>
      </dgm:prSet>
      <dgm:spPr/>
    </dgm:pt>
    <dgm:pt modelId="{4DE1D038-1CCF-44BD-98CC-83379A9D1ABA}" type="pres">
      <dgm:prSet presAssocID="{BF1B7F1E-C9AE-4E5A-B62E-DFDB1C01195F}" presName="sibTrans" presStyleLbl="sibTrans2D1" presStyleIdx="0" presStyleCnt="0"/>
      <dgm:spPr/>
    </dgm:pt>
    <dgm:pt modelId="{C7CC1EE5-1EFB-4E20-82DD-606F3BB728B3}" type="pres">
      <dgm:prSet presAssocID="{6510B392-E06C-45CE-8C57-99D908CB6F67}" presName="compNode" presStyleCnt="0"/>
      <dgm:spPr/>
    </dgm:pt>
    <dgm:pt modelId="{A4FDDF58-A836-476B-AC40-2D4F94D9382E}" type="pres">
      <dgm:prSet presAssocID="{6510B392-E06C-45CE-8C57-99D908CB6F67}" presName="iconBgRect" presStyleLbl="bgShp" presStyleIdx="3" presStyleCnt="4"/>
      <dgm:spPr/>
    </dgm:pt>
    <dgm:pt modelId="{F5EE4DD4-FA7C-4889-9803-843F33B27BA5}" type="pres">
      <dgm:prSet presAssocID="{6510B392-E06C-45CE-8C57-99D908CB6F67}"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Shredder"/>
        </a:ext>
      </dgm:extLst>
    </dgm:pt>
    <dgm:pt modelId="{8970E89E-6DCF-4B18-A583-45B54F14BEF4}" type="pres">
      <dgm:prSet presAssocID="{6510B392-E06C-45CE-8C57-99D908CB6F67}" presName="spaceRect" presStyleCnt="0"/>
      <dgm:spPr/>
    </dgm:pt>
    <dgm:pt modelId="{73C45806-5FF8-4912-AC6F-C6939E9B546A}" type="pres">
      <dgm:prSet presAssocID="{6510B392-E06C-45CE-8C57-99D908CB6F67}" presName="textRect" presStyleLbl="revTx" presStyleIdx="3" presStyleCnt="4">
        <dgm:presLayoutVars>
          <dgm:chMax val="1"/>
          <dgm:chPref val="1"/>
        </dgm:presLayoutVars>
      </dgm:prSet>
      <dgm:spPr/>
    </dgm:pt>
  </dgm:ptLst>
  <dgm:cxnLst>
    <dgm:cxn modelId="{D9C61B0F-3163-4B7E-B905-80B9662C3628}" type="presOf" srcId="{08D572F8-9E66-4E68-9806-0C71A6267138}" destId="{51590E78-F1DD-403D-BF6C-27951A3B6EAB}" srcOrd="0" destOrd="0" presId="urn:microsoft.com/office/officeart/2018/2/layout/IconCircleList"/>
    <dgm:cxn modelId="{74547F27-0437-4A81-91D3-E331781849C6}" type="presOf" srcId="{33945292-3C36-4BD7-B204-EF83858C1F4D}" destId="{3EBA28EC-5606-4C86-B1EB-5C65C0122EE2}" srcOrd="0" destOrd="0" presId="urn:microsoft.com/office/officeart/2018/2/layout/IconCircleList"/>
    <dgm:cxn modelId="{D5D28638-68BC-415A-9C74-7B6F3F48D0C9}" type="presOf" srcId="{01D707F6-F06F-4A2C-92DD-58E68F4ABEED}" destId="{BC825CFE-9C7A-43D0-9571-21199B3A4CE2}" srcOrd="0" destOrd="0" presId="urn:microsoft.com/office/officeart/2018/2/layout/IconCircleList"/>
    <dgm:cxn modelId="{830EC93F-D630-46B9-9F2A-64BB8867BF33}" srcId="{33945292-3C36-4BD7-B204-EF83858C1F4D}" destId="{6510B392-E06C-45CE-8C57-99D908CB6F67}" srcOrd="3" destOrd="0" parTransId="{29382FC4-2CB8-4EFA-B066-8A19A30FA925}" sibTransId="{4AA6F4DD-2EC0-4109-A642-F3CA53BD1E72}"/>
    <dgm:cxn modelId="{A7C5FB5E-9BB9-471C-87E0-ABE371F601D3}" type="presOf" srcId="{B9EE62F7-2501-4493-BE46-BA71596871C6}" destId="{6C43DB58-4BB0-4B79-98FC-541EFF99FDE8}" srcOrd="0" destOrd="0" presId="urn:microsoft.com/office/officeart/2018/2/layout/IconCircleList"/>
    <dgm:cxn modelId="{73F29A68-BBCB-4EC4-9799-6B5FDB8CB0D3}" type="presOf" srcId="{36B34E8B-7D9E-47A2-ADA5-658B4C6F7DE9}" destId="{B39BA93B-A292-40BE-8D07-1333CA3CDC54}" srcOrd="0" destOrd="0" presId="urn:microsoft.com/office/officeart/2018/2/layout/IconCircleList"/>
    <dgm:cxn modelId="{4504E94B-3F33-422B-B0CE-D6A92E1273F4}" type="presOf" srcId="{6510B392-E06C-45CE-8C57-99D908CB6F67}" destId="{73C45806-5FF8-4912-AC6F-C6939E9B546A}" srcOrd="0" destOrd="0" presId="urn:microsoft.com/office/officeart/2018/2/layout/IconCircleList"/>
    <dgm:cxn modelId="{D0051C52-454C-4E2C-B3B9-580A1ABCBCCF}" type="presOf" srcId="{87491B60-CE87-4964-AA1F-0461FCE315AC}" destId="{A27F5571-84D7-46B0-8CAA-540FD404FDE5}" srcOrd="0" destOrd="0" presId="urn:microsoft.com/office/officeart/2018/2/layout/IconCircleList"/>
    <dgm:cxn modelId="{4B2E748A-BCFB-4DCA-83CD-0DC43625BECB}" srcId="{33945292-3C36-4BD7-B204-EF83858C1F4D}" destId="{36B34E8B-7D9E-47A2-ADA5-658B4C6F7DE9}" srcOrd="0" destOrd="0" parTransId="{D5EBB4A2-BA98-44E5-A568-E711B9F3DD6B}" sibTransId="{B9EE62F7-2501-4493-BE46-BA71596871C6}"/>
    <dgm:cxn modelId="{26B3D4AD-7A83-495A-975B-0DA964367706}" type="presOf" srcId="{BF1B7F1E-C9AE-4E5A-B62E-DFDB1C01195F}" destId="{4DE1D038-1CCF-44BD-98CC-83379A9D1ABA}" srcOrd="0" destOrd="0" presId="urn:microsoft.com/office/officeart/2018/2/layout/IconCircleList"/>
    <dgm:cxn modelId="{5ABEDCAE-F6A0-47BF-9C8D-E33A0D3B982D}" srcId="{33945292-3C36-4BD7-B204-EF83858C1F4D}" destId="{08D572F8-9E66-4E68-9806-0C71A6267138}" srcOrd="1" destOrd="0" parTransId="{91F37ACB-387E-442C-8050-C7A33E07C2BF}" sibTransId="{01D707F6-F06F-4A2C-92DD-58E68F4ABEED}"/>
    <dgm:cxn modelId="{3FA5B8AF-1C85-4AC0-827C-5A5E6156D167}" srcId="{33945292-3C36-4BD7-B204-EF83858C1F4D}" destId="{87491B60-CE87-4964-AA1F-0461FCE315AC}" srcOrd="2" destOrd="0" parTransId="{79E47982-B42A-4DA8-80ED-03FECC82A28D}" sibTransId="{BF1B7F1E-C9AE-4E5A-B62E-DFDB1C01195F}"/>
    <dgm:cxn modelId="{5184A191-7CEB-429E-B2BF-8E1B21D20CE6}" type="presParOf" srcId="{3EBA28EC-5606-4C86-B1EB-5C65C0122EE2}" destId="{BB10DC98-8C53-4C46-8CF1-F75F082C54D0}" srcOrd="0" destOrd="0" presId="urn:microsoft.com/office/officeart/2018/2/layout/IconCircleList"/>
    <dgm:cxn modelId="{A7EA9B1D-D2D8-4FBC-A43A-6890EA2586E8}" type="presParOf" srcId="{BB10DC98-8C53-4C46-8CF1-F75F082C54D0}" destId="{1E8D7B37-E1CE-47C7-9C62-5C874BE81E73}" srcOrd="0" destOrd="0" presId="urn:microsoft.com/office/officeart/2018/2/layout/IconCircleList"/>
    <dgm:cxn modelId="{321A6D73-47E7-4A0B-A1C2-A87D6E009F95}" type="presParOf" srcId="{1E8D7B37-E1CE-47C7-9C62-5C874BE81E73}" destId="{E7104C5C-3F9B-400A-B186-47369747A778}" srcOrd="0" destOrd="0" presId="urn:microsoft.com/office/officeart/2018/2/layout/IconCircleList"/>
    <dgm:cxn modelId="{B1AC9859-EED0-4D34-94ED-9D1C9D3C1F8C}" type="presParOf" srcId="{1E8D7B37-E1CE-47C7-9C62-5C874BE81E73}" destId="{2DD82FE7-9410-48DD-902E-714D5B51B542}" srcOrd="1" destOrd="0" presId="urn:microsoft.com/office/officeart/2018/2/layout/IconCircleList"/>
    <dgm:cxn modelId="{7BB053EE-F771-4F5E-9DC7-8C222D9C06D4}" type="presParOf" srcId="{1E8D7B37-E1CE-47C7-9C62-5C874BE81E73}" destId="{B61039ED-35B6-42A5-AA5D-2494171A23F1}" srcOrd="2" destOrd="0" presId="urn:microsoft.com/office/officeart/2018/2/layout/IconCircleList"/>
    <dgm:cxn modelId="{5A69E961-EB94-4AA9-8512-28324695EA46}" type="presParOf" srcId="{1E8D7B37-E1CE-47C7-9C62-5C874BE81E73}" destId="{B39BA93B-A292-40BE-8D07-1333CA3CDC54}" srcOrd="3" destOrd="0" presId="urn:microsoft.com/office/officeart/2018/2/layout/IconCircleList"/>
    <dgm:cxn modelId="{2A52E47E-7745-4589-AC91-BDD9FA8A30D9}" type="presParOf" srcId="{BB10DC98-8C53-4C46-8CF1-F75F082C54D0}" destId="{6C43DB58-4BB0-4B79-98FC-541EFF99FDE8}" srcOrd="1" destOrd="0" presId="urn:microsoft.com/office/officeart/2018/2/layout/IconCircleList"/>
    <dgm:cxn modelId="{5C18CDEF-E788-436F-9D24-DF976BF1A201}" type="presParOf" srcId="{BB10DC98-8C53-4C46-8CF1-F75F082C54D0}" destId="{7E754E63-F460-4E12-8361-10D62A803FB8}" srcOrd="2" destOrd="0" presId="urn:microsoft.com/office/officeart/2018/2/layout/IconCircleList"/>
    <dgm:cxn modelId="{E640F7B4-6804-43ED-9F90-3F3574D37F13}" type="presParOf" srcId="{7E754E63-F460-4E12-8361-10D62A803FB8}" destId="{68EE4D5E-6996-47D9-870F-064D7903D211}" srcOrd="0" destOrd="0" presId="urn:microsoft.com/office/officeart/2018/2/layout/IconCircleList"/>
    <dgm:cxn modelId="{09B7FAAB-3195-4A6D-BED7-F9C894AA465A}" type="presParOf" srcId="{7E754E63-F460-4E12-8361-10D62A803FB8}" destId="{00FB9E03-D519-4FE5-ABA9-4693974A32AF}" srcOrd="1" destOrd="0" presId="urn:microsoft.com/office/officeart/2018/2/layout/IconCircleList"/>
    <dgm:cxn modelId="{2B521F56-FC3F-4DCE-A665-77439A5C838F}" type="presParOf" srcId="{7E754E63-F460-4E12-8361-10D62A803FB8}" destId="{952BF2E7-BF18-4C8C-89BC-D3C46F249870}" srcOrd="2" destOrd="0" presId="urn:microsoft.com/office/officeart/2018/2/layout/IconCircleList"/>
    <dgm:cxn modelId="{56CC78DC-8B77-4484-AFAB-EAB70F236EAA}" type="presParOf" srcId="{7E754E63-F460-4E12-8361-10D62A803FB8}" destId="{51590E78-F1DD-403D-BF6C-27951A3B6EAB}" srcOrd="3" destOrd="0" presId="urn:microsoft.com/office/officeart/2018/2/layout/IconCircleList"/>
    <dgm:cxn modelId="{C41BACD3-2914-42E9-ABB4-73DC5FFEA11C}" type="presParOf" srcId="{BB10DC98-8C53-4C46-8CF1-F75F082C54D0}" destId="{BC825CFE-9C7A-43D0-9571-21199B3A4CE2}" srcOrd="3" destOrd="0" presId="urn:microsoft.com/office/officeart/2018/2/layout/IconCircleList"/>
    <dgm:cxn modelId="{334B3339-85AB-40AE-9F9E-3B79835E3F64}" type="presParOf" srcId="{BB10DC98-8C53-4C46-8CF1-F75F082C54D0}" destId="{328D1C8D-C142-4640-82BE-55C879503935}" srcOrd="4" destOrd="0" presId="urn:microsoft.com/office/officeart/2018/2/layout/IconCircleList"/>
    <dgm:cxn modelId="{D0346E71-750D-46B3-A834-28F38DFD9826}" type="presParOf" srcId="{328D1C8D-C142-4640-82BE-55C879503935}" destId="{EE77CAB7-3F2F-451E-8617-57F5DE15BBB5}" srcOrd="0" destOrd="0" presId="urn:microsoft.com/office/officeart/2018/2/layout/IconCircleList"/>
    <dgm:cxn modelId="{1E245712-A685-4702-B1B5-94186108A6EA}" type="presParOf" srcId="{328D1C8D-C142-4640-82BE-55C879503935}" destId="{A295EE75-4149-48E9-AA64-D65F5D13115A}" srcOrd="1" destOrd="0" presId="urn:microsoft.com/office/officeart/2018/2/layout/IconCircleList"/>
    <dgm:cxn modelId="{7C417F58-42B0-4EA6-ADCD-DE8B36A0291F}" type="presParOf" srcId="{328D1C8D-C142-4640-82BE-55C879503935}" destId="{00A5FF49-E38A-444E-B1F3-C728208AA75A}" srcOrd="2" destOrd="0" presId="urn:microsoft.com/office/officeart/2018/2/layout/IconCircleList"/>
    <dgm:cxn modelId="{52583462-684A-4031-8866-6EF187E1A822}" type="presParOf" srcId="{328D1C8D-C142-4640-82BE-55C879503935}" destId="{A27F5571-84D7-46B0-8CAA-540FD404FDE5}" srcOrd="3" destOrd="0" presId="urn:microsoft.com/office/officeart/2018/2/layout/IconCircleList"/>
    <dgm:cxn modelId="{64D1873C-D445-405B-BD34-97FB5C4585AF}" type="presParOf" srcId="{BB10DC98-8C53-4C46-8CF1-F75F082C54D0}" destId="{4DE1D038-1CCF-44BD-98CC-83379A9D1ABA}" srcOrd="5" destOrd="0" presId="urn:microsoft.com/office/officeart/2018/2/layout/IconCircleList"/>
    <dgm:cxn modelId="{331F00A9-06BE-4141-A3D7-22988A15CC6C}" type="presParOf" srcId="{BB10DC98-8C53-4C46-8CF1-F75F082C54D0}" destId="{C7CC1EE5-1EFB-4E20-82DD-606F3BB728B3}" srcOrd="6" destOrd="0" presId="urn:microsoft.com/office/officeart/2018/2/layout/IconCircleList"/>
    <dgm:cxn modelId="{20B73159-1259-4D5A-9AB2-2ADC034D8471}" type="presParOf" srcId="{C7CC1EE5-1EFB-4E20-82DD-606F3BB728B3}" destId="{A4FDDF58-A836-476B-AC40-2D4F94D9382E}" srcOrd="0" destOrd="0" presId="urn:microsoft.com/office/officeart/2018/2/layout/IconCircleList"/>
    <dgm:cxn modelId="{0DDFC950-AF0C-4E58-BDA9-0CEAC4BFD605}" type="presParOf" srcId="{C7CC1EE5-1EFB-4E20-82DD-606F3BB728B3}" destId="{F5EE4DD4-FA7C-4889-9803-843F33B27BA5}" srcOrd="1" destOrd="0" presId="urn:microsoft.com/office/officeart/2018/2/layout/IconCircleList"/>
    <dgm:cxn modelId="{2D56AC3C-7AF2-4355-94B8-437FCC11EBEB}" type="presParOf" srcId="{C7CC1EE5-1EFB-4E20-82DD-606F3BB728B3}" destId="{8970E89E-6DCF-4B18-A583-45B54F14BEF4}" srcOrd="2" destOrd="0" presId="urn:microsoft.com/office/officeart/2018/2/layout/IconCircleList"/>
    <dgm:cxn modelId="{E0055C7E-41B8-4C89-85DD-39A4DE8758A7}" type="presParOf" srcId="{C7CC1EE5-1EFB-4E20-82DD-606F3BB728B3}" destId="{73C45806-5FF8-4912-AC6F-C6939E9B546A}" srcOrd="3" destOrd="0" presId="urn:microsoft.com/office/officeart/2018/2/layout/IconCircle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A65B37E-18B0-4B17-B624-6B19E7071DA2}" type="doc">
      <dgm:prSet loTypeId="urn:microsoft.com/office/officeart/2005/8/layout/hProcess6" loCatId="process" qsTypeId="urn:microsoft.com/office/officeart/2005/8/quickstyle/simple1" qsCatId="simple" csTypeId="urn:microsoft.com/office/officeart/2005/8/colors/colorful5" csCatId="colorful" phldr="1"/>
      <dgm:spPr/>
      <dgm:t>
        <a:bodyPr/>
        <a:lstStyle/>
        <a:p>
          <a:endParaRPr lang="en-US"/>
        </a:p>
      </dgm:t>
    </dgm:pt>
    <dgm:pt modelId="{9B98FB43-D432-4AF3-8609-3AB69C6B3B65}">
      <dgm:prSet phldrT="[Text]" custT="1"/>
      <dgm:spPr/>
      <dgm:t>
        <a:bodyPr/>
        <a:lstStyle/>
        <a:p>
          <a:r>
            <a:rPr lang="en-US" sz="1400" b="0" dirty="0"/>
            <a:t>Working directory</a:t>
          </a:r>
          <a:endParaRPr lang="en-US" sz="1400" b="0" i="0" u="none" strike="noStrike" cap="none" baseline="0" noProof="0" dirty="0">
            <a:solidFill>
              <a:srgbClr val="010000"/>
            </a:solidFill>
            <a:latin typeface="Segoe UI Semibold"/>
            <a:cs typeface="Segoe UI Semibold"/>
          </a:endParaRPr>
        </a:p>
      </dgm:t>
    </dgm:pt>
    <dgm:pt modelId="{5FA347C7-3768-4785-94DB-740AA2BC53AB}" type="parTrans" cxnId="{10075333-C0C2-4908-90E7-604E1ABCFC62}">
      <dgm:prSet/>
      <dgm:spPr/>
      <dgm:t>
        <a:bodyPr/>
        <a:lstStyle/>
        <a:p>
          <a:endParaRPr lang="en-US"/>
        </a:p>
      </dgm:t>
    </dgm:pt>
    <dgm:pt modelId="{BFAC89F3-8412-48AE-A6A6-B1FDE8F439DE}" type="sibTrans" cxnId="{10075333-C0C2-4908-90E7-604E1ABCFC62}">
      <dgm:prSet/>
      <dgm:spPr/>
      <dgm:t>
        <a:bodyPr/>
        <a:lstStyle/>
        <a:p>
          <a:endParaRPr lang="en-US"/>
        </a:p>
      </dgm:t>
    </dgm:pt>
    <dgm:pt modelId="{59396125-F890-44F5-99B1-A7C00B8A5E5F}">
      <dgm:prSet phldrT="[Text]" custT="1"/>
      <dgm:spPr/>
      <dgm:t>
        <a:bodyPr/>
        <a:lstStyle/>
        <a:p>
          <a:pPr>
            <a:buNone/>
          </a:pPr>
          <a:r>
            <a:rPr lang="en-US" sz="2400" b="0" dirty="0"/>
            <a:t>git add</a:t>
          </a:r>
        </a:p>
      </dgm:t>
    </dgm:pt>
    <dgm:pt modelId="{70021AD7-65C1-4F1A-BDBE-469210417448}" type="parTrans" cxnId="{9DEE8F25-352F-4091-9E71-E4EE20DABCE0}">
      <dgm:prSet/>
      <dgm:spPr/>
      <dgm:t>
        <a:bodyPr/>
        <a:lstStyle/>
        <a:p>
          <a:endParaRPr lang="en-US"/>
        </a:p>
      </dgm:t>
    </dgm:pt>
    <dgm:pt modelId="{C64352C0-7AEE-4BFA-9890-1C65CCAD532F}" type="sibTrans" cxnId="{9DEE8F25-352F-4091-9E71-E4EE20DABCE0}">
      <dgm:prSet/>
      <dgm:spPr/>
      <dgm:t>
        <a:bodyPr/>
        <a:lstStyle/>
        <a:p>
          <a:endParaRPr lang="en-US"/>
        </a:p>
      </dgm:t>
    </dgm:pt>
    <dgm:pt modelId="{84C72CF5-219D-4BD5-9C9D-A254C8D89207}">
      <dgm:prSet phldrT="[Text]" custT="1"/>
      <dgm:spPr/>
      <dgm:t>
        <a:bodyPr/>
        <a:lstStyle/>
        <a:p>
          <a:r>
            <a:rPr lang="en-US" sz="1400" b="0" dirty="0"/>
            <a:t>Index/ staging</a:t>
          </a:r>
        </a:p>
      </dgm:t>
    </dgm:pt>
    <dgm:pt modelId="{1ED97603-C875-4459-8DCD-B6030CC31FBC}" type="parTrans" cxnId="{F9062AAB-DF5F-4C89-B395-EAAF59EF4A23}">
      <dgm:prSet/>
      <dgm:spPr/>
      <dgm:t>
        <a:bodyPr/>
        <a:lstStyle/>
        <a:p>
          <a:endParaRPr lang="en-US"/>
        </a:p>
      </dgm:t>
    </dgm:pt>
    <dgm:pt modelId="{81C12626-CAF1-4EA4-B6A4-4B5EBD50AC45}" type="sibTrans" cxnId="{F9062AAB-DF5F-4C89-B395-EAAF59EF4A23}">
      <dgm:prSet/>
      <dgm:spPr/>
      <dgm:t>
        <a:bodyPr/>
        <a:lstStyle/>
        <a:p>
          <a:endParaRPr lang="en-US"/>
        </a:p>
      </dgm:t>
    </dgm:pt>
    <dgm:pt modelId="{9002735A-32CE-48C3-9451-C486880ABB6E}">
      <dgm:prSet phldrT="[Text]" custT="1"/>
      <dgm:spPr/>
      <dgm:t>
        <a:bodyPr/>
        <a:lstStyle/>
        <a:p>
          <a:pPr>
            <a:buNone/>
          </a:pPr>
          <a:r>
            <a:rPr lang="en-US" sz="1600" b="0" dirty="0"/>
            <a:t>git commit</a:t>
          </a:r>
        </a:p>
      </dgm:t>
    </dgm:pt>
    <dgm:pt modelId="{24F453BB-CB2E-46BB-B020-10907A614924}" type="parTrans" cxnId="{7F1C83D9-97AA-4E1D-A4C1-3F0B767CFD95}">
      <dgm:prSet/>
      <dgm:spPr/>
      <dgm:t>
        <a:bodyPr/>
        <a:lstStyle/>
        <a:p>
          <a:endParaRPr lang="en-US"/>
        </a:p>
      </dgm:t>
    </dgm:pt>
    <dgm:pt modelId="{374EB580-3735-498C-83CC-24C18DAAD305}" type="sibTrans" cxnId="{7F1C83D9-97AA-4E1D-A4C1-3F0B767CFD95}">
      <dgm:prSet/>
      <dgm:spPr/>
      <dgm:t>
        <a:bodyPr/>
        <a:lstStyle/>
        <a:p>
          <a:endParaRPr lang="en-US"/>
        </a:p>
      </dgm:t>
    </dgm:pt>
    <dgm:pt modelId="{3AE55F7F-75B1-439E-BA53-B37D664866EE}">
      <dgm:prSet phldrT="[Text]" custT="1"/>
      <dgm:spPr/>
      <dgm:t>
        <a:bodyPr/>
        <a:lstStyle/>
        <a:p>
          <a:r>
            <a:rPr lang="en-US" sz="1400" b="0" dirty="0"/>
            <a:t>HEAD</a:t>
          </a:r>
        </a:p>
      </dgm:t>
    </dgm:pt>
    <dgm:pt modelId="{16E23644-1179-4499-93DF-E7B71AFA7EB3}" type="parTrans" cxnId="{8D846472-97FC-4625-9605-AC24BE35C4CD}">
      <dgm:prSet/>
      <dgm:spPr/>
      <dgm:t>
        <a:bodyPr/>
        <a:lstStyle/>
        <a:p>
          <a:endParaRPr lang="en-US"/>
        </a:p>
      </dgm:t>
    </dgm:pt>
    <dgm:pt modelId="{53F1FAE1-6947-4822-9C91-5AB8522CCD5C}" type="sibTrans" cxnId="{8D846472-97FC-4625-9605-AC24BE35C4CD}">
      <dgm:prSet/>
      <dgm:spPr/>
      <dgm:t>
        <a:bodyPr/>
        <a:lstStyle/>
        <a:p>
          <a:endParaRPr lang="en-US"/>
        </a:p>
      </dgm:t>
    </dgm:pt>
    <dgm:pt modelId="{1D6522C6-665C-435E-8E74-F7C2FF3D9A85}">
      <dgm:prSet phldrT="[Text]" custT="1"/>
      <dgm:spPr/>
      <dgm:t>
        <a:bodyPr/>
        <a:lstStyle/>
        <a:p>
          <a:pPr>
            <a:buNone/>
          </a:pPr>
          <a:r>
            <a:rPr lang="en-US" sz="2000" b="0" dirty="0"/>
            <a:t>git push</a:t>
          </a:r>
        </a:p>
      </dgm:t>
    </dgm:pt>
    <dgm:pt modelId="{45B0C94C-457B-456E-A445-9049441BE68D}" type="parTrans" cxnId="{74B53AA7-DBA3-4562-BD3C-9344B31D18CF}">
      <dgm:prSet/>
      <dgm:spPr/>
      <dgm:t>
        <a:bodyPr/>
        <a:lstStyle/>
        <a:p>
          <a:endParaRPr lang="en-US"/>
        </a:p>
      </dgm:t>
    </dgm:pt>
    <dgm:pt modelId="{2295F34B-96E8-4850-A3C1-E10C726CEEFF}" type="sibTrans" cxnId="{74B53AA7-DBA3-4562-BD3C-9344B31D18CF}">
      <dgm:prSet/>
      <dgm:spPr/>
      <dgm:t>
        <a:bodyPr/>
        <a:lstStyle/>
        <a:p>
          <a:endParaRPr lang="en-US"/>
        </a:p>
      </dgm:t>
    </dgm:pt>
    <dgm:pt modelId="{6B582ED4-C7F0-4AFC-BB88-F7BFD483E930}">
      <dgm:prSet phldrT="[Text]" custT="1"/>
      <dgm:spPr/>
      <dgm:t>
        <a:bodyPr/>
        <a:lstStyle/>
        <a:p>
          <a:pPr>
            <a:buNone/>
          </a:pPr>
          <a:r>
            <a:rPr lang="en-US" sz="1400" b="0" dirty="0"/>
            <a:t>GitHub</a:t>
          </a:r>
        </a:p>
      </dgm:t>
    </dgm:pt>
    <dgm:pt modelId="{20B495B7-F3DA-4CC3-850D-6C5DF39FD2D0}" type="parTrans" cxnId="{8254A09B-D619-4953-9569-2CEF4C5130C5}">
      <dgm:prSet/>
      <dgm:spPr/>
      <dgm:t>
        <a:bodyPr/>
        <a:lstStyle/>
        <a:p>
          <a:endParaRPr lang="en-US"/>
        </a:p>
      </dgm:t>
    </dgm:pt>
    <dgm:pt modelId="{4DCCA12A-7A2D-4395-B061-44E36D67FE94}" type="sibTrans" cxnId="{8254A09B-D619-4953-9569-2CEF4C5130C5}">
      <dgm:prSet/>
      <dgm:spPr/>
      <dgm:t>
        <a:bodyPr/>
        <a:lstStyle/>
        <a:p>
          <a:endParaRPr lang="en-US"/>
        </a:p>
      </dgm:t>
    </dgm:pt>
    <dgm:pt modelId="{9418F1F8-6179-4740-BCE2-5FE6C7EBE402}">
      <dgm:prSet custT="1"/>
      <dgm:spPr/>
      <dgm:t>
        <a:bodyPr/>
        <a:lstStyle/>
        <a:p>
          <a:pPr>
            <a:buNone/>
          </a:pPr>
          <a:r>
            <a:rPr lang="en-US" sz="1600" b="0" dirty="0"/>
            <a:t>git remote add origin </a:t>
          </a:r>
          <a:r>
            <a:rPr lang="en-US" sz="1600" b="0" dirty="0" err="1"/>
            <a:t>ssh_url</a:t>
          </a:r>
          <a:endParaRPr lang="en-US" sz="1600" b="0" dirty="0"/>
        </a:p>
      </dgm:t>
    </dgm:pt>
    <dgm:pt modelId="{9712A8CB-4F9B-493A-B97F-FE4B13476B6F}" type="parTrans" cxnId="{67AB8009-3A8A-4205-9416-027C574D9FB9}">
      <dgm:prSet/>
      <dgm:spPr/>
      <dgm:t>
        <a:bodyPr/>
        <a:lstStyle/>
        <a:p>
          <a:endParaRPr lang="en-US"/>
        </a:p>
      </dgm:t>
    </dgm:pt>
    <dgm:pt modelId="{66A721F1-E074-4870-826A-DF95D5ECD8C9}" type="sibTrans" cxnId="{67AB8009-3A8A-4205-9416-027C574D9FB9}">
      <dgm:prSet/>
      <dgm:spPr/>
      <dgm:t>
        <a:bodyPr/>
        <a:lstStyle/>
        <a:p>
          <a:endParaRPr lang="en-US"/>
        </a:p>
      </dgm:t>
    </dgm:pt>
    <dgm:pt modelId="{05799C90-4AC2-4BB0-AC67-07ACE1B686EB}" type="pres">
      <dgm:prSet presAssocID="{AA65B37E-18B0-4B17-B624-6B19E7071DA2}" presName="theList" presStyleCnt="0">
        <dgm:presLayoutVars>
          <dgm:dir/>
          <dgm:animLvl val="lvl"/>
          <dgm:resizeHandles val="exact"/>
        </dgm:presLayoutVars>
      </dgm:prSet>
      <dgm:spPr/>
    </dgm:pt>
    <dgm:pt modelId="{7C5E65AA-9628-471A-B3A5-FE5D83AB3E4C}" type="pres">
      <dgm:prSet presAssocID="{9B98FB43-D432-4AF3-8609-3AB69C6B3B65}" presName="compNode" presStyleCnt="0"/>
      <dgm:spPr/>
    </dgm:pt>
    <dgm:pt modelId="{D62CEB07-0233-45AA-8BFD-A12AEF7DAFFB}" type="pres">
      <dgm:prSet presAssocID="{9B98FB43-D432-4AF3-8609-3AB69C6B3B65}" presName="noGeometry" presStyleCnt="0"/>
      <dgm:spPr/>
    </dgm:pt>
    <dgm:pt modelId="{3882616B-A82E-474A-BEAD-C7E94A589992}" type="pres">
      <dgm:prSet presAssocID="{9B98FB43-D432-4AF3-8609-3AB69C6B3B65}" presName="childTextVisible" presStyleLbl="bgAccFollowNode1" presStyleIdx="0" presStyleCnt="4">
        <dgm:presLayoutVars>
          <dgm:bulletEnabled val="1"/>
        </dgm:presLayoutVars>
      </dgm:prSet>
      <dgm:spPr/>
    </dgm:pt>
    <dgm:pt modelId="{C517722E-BF8F-4D3C-B7A8-80B66AC64535}" type="pres">
      <dgm:prSet presAssocID="{9B98FB43-D432-4AF3-8609-3AB69C6B3B65}" presName="childTextHidden" presStyleLbl="bgAccFollowNode1" presStyleIdx="0" presStyleCnt="4"/>
      <dgm:spPr/>
    </dgm:pt>
    <dgm:pt modelId="{E1D442E6-50DE-42B6-B90C-5C2C51011D23}" type="pres">
      <dgm:prSet presAssocID="{9B98FB43-D432-4AF3-8609-3AB69C6B3B65}" presName="parentText" presStyleLbl="node1" presStyleIdx="0" presStyleCnt="4">
        <dgm:presLayoutVars>
          <dgm:chMax val="1"/>
          <dgm:bulletEnabled val="1"/>
        </dgm:presLayoutVars>
      </dgm:prSet>
      <dgm:spPr/>
    </dgm:pt>
    <dgm:pt modelId="{04D104A1-B254-4446-B033-8CF435FD54CC}" type="pres">
      <dgm:prSet presAssocID="{9B98FB43-D432-4AF3-8609-3AB69C6B3B65}" presName="aSpace" presStyleCnt="0"/>
      <dgm:spPr/>
    </dgm:pt>
    <dgm:pt modelId="{FF60D303-F73D-46BF-97E7-D18BF366698B}" type="pres">
      <dgm:prSet presAssocID="{84C72CF5-219D-4BD5-9C9D-A254C8D89207}" presName="compNode" presStyleCnt="0"/>
      <dgm:spPr/>
    </dgm:pt>
    <dgm:pt modelId="{1435EA7C-DF15-44A6-B019-2B0B5867FBE5}" type="pres">
      <dgm:prSet presAssocID="{84C72CF5-219D-4BD5-9C9D-A254C8D89207}" presName="noGeometry" presStyleCnt="0"/>
      <dgm:spPr/>
    </dgm:pt>
    <dgm:pt modelId="{10DD6BAD-64EC-4FED-A093-E47B3435FEB8}" type="pres">
      <dgm:prSet presAssocID="{84C72CF5-219D-4BD5-9C9D-A254C8D89207}" presName="childTextVisible" presStyleLbl="bgAccFollowNode1" presStyleIdx="1" presStyleCnt="4">
        <dgm:presLayoutVars>
          <dgm:bulletEnabled val="1"/>
        </dgm:presLayoutVars>
      </dgm:prSet>
      <dgm:spPr/>
    </dgm:pt>
    <dgm:pt modelId="{8412D892-5A7A-4DA4-BF64-D8C9896306CE}" type="pres">
      <dgm:prSet presAssocID="{84C72CF5-219D-4BD5-9C9D-A254C8D89207}" presName="childTextHidden" presStyleLbl="bgAccFollowNode1" presStyleIdx="1" presStyleCnt="4"/>
      <dgm:spPr/>
    </dgm:pt>
    <dgm:pt modelId="{CDB9AC5A-1499-44E3-9A89-B7F7D8C924C1}" type="pres">
      <dgm:prSet presAssocID="{84C72CF5-219D-4BD5-9C9D-A254C8D89207}" presName="parentText" presStyleLbl="node1" presStyleIdx="1" presStyleCnt="4">
        <dgm:presLayoutVars>
          <dgm:chMax val="1"/>
          <dgm:bulletEnabled val="1"/>
        </dgm:presLayoutVars>
      </dgm:prSet>
      <dgm:spPr/>
    </dgm:pt>
    <dgm:pt modelId="{B7D9EBE5-2B61-47A2-BD00-04B2879EB0E4}" type="pres">
      <dgm:prSet presAssocID="{84C72CF5-219D-4BD5-9C9D-A254C8D89207}" presName="aSpace" presStyleCnt="0"/>
      <dgm:spPr/>
    </dgm:pt>
    <dgm:pt modelId="{BA7D5242-3994-41AF-B392-5B8D8DC2D60B}" type="pres">
      <dgm:prSet presAssocID="{3AE55F7F-75B1-439E-BA53-B37D664866EE}" presName="compNode" presStyleCnt="0"/>
      <dgm:spPr/>
    </dgm:pt>
    <dgm:pt modelId="{1F3838E6-83F7-4117-BE6E-DEE043AFACEE}" type="pres">
      <dgm:prSet presAssocID="{3AE55F7F-75B1-439E-BA53-B37D664866EE}" presName="noGeometry" presStyleCnt="0"/>
      <dgm:spPr/>
    </dgm:pt>
    <dgm:pt modelId="{E387BFBC-C63C-4A0A-83FF-5C6BD40FE0AD}" type="pres">
      <dgm:prSet presAssocID="{3AE55F7F-75B1-439E-BA53-B37D664866EE}" presName="childTextVisible" presStyleLbl="bgAccFollowNode1" presStyleIdx="2" presStyleCnt="4">
        <dgm:presLayoutVars>
          <dgm:bulletEnabled val="1"/>
        </dgm:presLayoutVars>
      </dgm:prSet>
      <dgm:spPr/>
    </dgm:pt>
    <dgm:pt modelId="{578EC520-2F4A-4003-918C-24A96C70AEA3}" type="pres">
      <dgm:prSet presAssocID="{3AE55F7F-75B1-439E-BA53-B37D664866EE}" presName="childTextHidden" presStyleLbl="bgAccFollowNode1" presStyleIdx="2" presStyleCnt="4"/>
      <dgm:spPr/>
    </dgm:pt>
    <dgm:pt modelId="{4C1F17AB-C49A-4053-9EDC-615D8389E1F5}" type="pres">
      <dgm:prSet presAssocID="{3AE55F7F-75B1-439E-BA53-B37D664866EE}" presName="parentText" presStyleLbl="node1" presStyleIdx="2" presStyleCnt="4">
        <dgm:presLayoutVars>
          <dgm:chMax val="1"/>
          <dgm:bulletEnabled val="1"/>
        </dgm:presLayoutVars>
      </dgm:prSet>
      <dgm:spPr/>
    </dgm:pt>
    <dgm:pt modelId="{53A5A7C9-676F-43BD-A97A-81A452A02140}" type="pres">
      <dgm:prSet presAssocID="{3AE55F7F-75B1-439E-BA53-B37D664866EE}" presName="aSpace" presStyleCnt="0"/>
      <dgm:spPr/>
    </dgm:pt>
    <dgm:pt modelId="{4E179402-C54E-4246-BA26-A536C745C890}" type="pres">
      <dgm:prSet presAssocID="{6B582ED4-C7F0-4AFC-BB88-F7BFD483E930}" presName="compNode" presStyleCnt="0"/>
      <dgm:spPr/>
    </dgm:pt>
    <dgm:pt modelId="{CB967702-63ED-44B9-9FF6-A81ADAC9DCE0}" type="pres">
      <dgm:prSet presAssocID="{6B582ED4-C7F0-4AFC-BB88-F7BFD483E930}" presName="noGeometry" presStyleCnt="0"/>
      <dgm:spPr/>
    </dgm:pt>
    <dgm:pt modelId="{F8A5E368-4C95-4EC5-860C-BBD97D923610}" type="pres">
      <dgm:prSet presAssocID="{6B582ED4-C7F0-4AFC-BB88-F7BFD483E930}" presName="childTextVisible" presStyleLbl="bgAccFollowNode1" presStyleIdx="3" presStyleCnt="4">
        <dgm:presLayoutVars>
          <dgm:bulletEnabled val="1"/>
        </dgm:presLayoutVars>
      </dgm:prSet>
      <dgm:spPr/>
    </dgm:pt>
    <dgm:pt modelId="{E8EE89CC-6A70-424F-B485-8DDD49E7AEA7}" type="pres">
      <dgm:prSet presAssocID="{6B582ED4-C7F0-4AFC-BB88-F7BFD483E930}" presName="childTextHidden" presStyleLbl="bgAccFollowNode1" presStyleIdx="3" presStyleCnt="4"/>
      <dgm:spPr/>
    </dgm:pt>
    <dgm:pt modelId="{5C44622F-2F88-4BA9-9BB1-D6951CE35127}" type="pres">
      <dgm:prSet presAssocID="{6B582ED4-C7F0-4AFC-BB88-F7BFD483E930}" presName="parentText" presStyleLbl="node1" presStyleIdx="3" presStyleCnt="4" custScaleX="107041">
        <dgm:presLayoutVars>
          <dgm:chMax val="1"/>
          <dgm:bulletEnabled val="1"/>
        </dgm:presLayoutVars>
      </dgm:prSet>
      <dgm:spPr/>
    </dgm:pt>
  </dgm:ptLst>
  <dgm:cxnLst>
    <dgm:cxn modelId="{67AB8009-3A8A-4205-9416-027C574D9FB9}" srcId="{6B582ED4-C7F0-4AFC-BB88-F7BFD483E930}" destId="{9418F1F8-6179-4740-BCE2-5FE6C7EBE402}" srcOrd="0" destOrd="0" parTransId="{9712A8CB-4F9B-493A-B97F-FE4B13476B6F}" sibTransId="{66A721F1-E074-4870-826A-DF95D5ECD8C9}"/>
    <dgm:cxn modelId="{08F0CF1D-7B06-4158-8883-C073B612AB6C}" type="presOf" srcId="{9002735A-32CE-48C3-9451-C486880ABB6E}" destId="{8412D892-5A7A-4DA4-BF64-D8C9896306CE}" srcOrd="1" destOrd="0" presId="urn:microsoft.com/office/officeart/2005/8/layout/hProcess6"/>
    <dgm:cxn modelId="{6795D81D-641B-4206-84C3-379264A5615D}" type="presOf" srcId="{59396125-F890-44F5-99B1-A7C00B8A5E5F}" destId="{C517722E-BF8F-4D3C-B7A8-80B66AC64535}" srcOrd="1" destOrd="0" presId="urn:microsoft.com/office/officeart/2005/8/layout/hProcess6"/>
    <dgm:cxn modelId="{9DEE8F25-352F-4091-9E71-E4EE20DABCE0}" srcId="{9B98FB43-D432-4AF3-8609-3AB69C6B3B65}" destId="{59396125-F890-44F5-99B1-A7C00B8A5E5F}" srcOrd="0" destOrd="0" parTransId="{70021AD7-65C1-4F1A-BDBE-469210417448}" sibTransId="{C64352C0-7AEE-4BFA-9890-1C65CCAD532F}"/>
    <dgm:cxn modelId="{10075333-C0C2-4908-90E7-604E1ABCFC62}" srcId="{AA65B37E-18B0-4B17-B624-6B19E7071DA2}" destId="{9B98FB43-D432-4AF3-8609-3AB69C6B3B65}" srcOrd="0" destOrd="0" parTransId="{5FA347C7-3768-4785-94DB-740AA2BC53AB}" sibTransId="{BFAC89F3-8412-48AE-A6A6-B1FDE8F439DE}"/>
    <dgm:cxn modelId="{B4523C51-C005-463C-A139-0417F86E279C}" type="presOf" srcId="{6B582ED4-C7F0-4AFC-BB88-F7BFD483E930}" destId="{5C44622F-2F88-4BA9-9BB1-D6951CE35127}" srcOrd="0" destOrd="0" presId="urn:microsoft.com/office/officeart/2005/8/layout/hProcess6"/>
    <dgm:cxn modelId="{8D846472-97FC-4625-9605-AC24BE35C4CD}" srcId="{AA65B37E-18B0-4B17-B624-6B19E7071DA2}" destId="{3AE55F7F-75B1-439E-BA53-B37D664866EE}" srcOrd="2" destOrd="0" parTransId="{16E23644-1179-4499-93DF-E7B71AFA7EB3}" sibTransId="{53F1FAE1-6947-4822-9C91-5AB8522CCD5C}"/>
    <dgm:cxn modelId="{05377F53-75B2-4433-B13F-723B444C1B3D}" type="presOf" srcId="{9418F1F8-6179-4740-BCE2-5FE6C7EBE402}" destId="{E8EE89CC-6A70-424F-B485-8DDD49E7AEA7}" srcOrd="1" destOrd="0" presId="urn:microsoft.com/office/officeart/2005/8/layout/hProcess6"/>
    <dgm:cxn modelId="{EE0C0554-8CDF-416A-85E3-C527471ADD86}" type="presOf" srcId="{3AE55F7F-75B1-439E-BA53-B37D664866EE}" destId="{4C1F17AB-C49A-4053-9EDC-615D8389E1F5}" srcOrd="0" destOrd="0" presId="urn:microsoft.com/office/officeart/2005/8/layout/hProcess6"/>
    <dgm:cxn modelId="{622D5458-C380-442B-9F7A-7ACCB394AE3F}" type="presOf" srcId="{9418F1F8-6179-4740-BCE2-5FE6C7EBE402}" destId="{F8A5E368-4C95-4EC5-860C-BBD97D923610}" srcOrd="0" destOrd="0" presId="urn:microsoft.com/office/officeart/2005/8/layout/hProcess6"/>
    <dgm:cxn modelId="{A613918E-92D7-4351-A0B0-53100A41E648}" type="presOf" srcId="{84C72CF5-219D-4BD5-9C9D-A254C8D89207}" destId="{CDB9AC5A-1499-44E3-9A89-B7F7D8C924C1}" srcOrd="0" destOrd="0" presId="urn:microsoft.com/office/officeart/2005/8/layout/hProcess6"/>
    <dgm:cxn modelId="{FCDD4492-A522-47CC-9367-2A77D1322901}" type="presOf" srcId="{AA65B37E-18B0-4B17-B624-6B19E7071DA2}" destId="{05799C90-4AC2-4BB0-AC67-07ACE1B686EB}" srcOrd="0" destOrd="0" presId="urn:microsoft.com/office/officeart/2005/8/layout/hProcess6"/>
    <dgm:cxn modelId="{DF5FE29A-9E9D-42AE-99F8-BCC1009AA96C}" type="presOf" srcId="{9B98FB43-D432-4AF3-8609-3AB69C6B3B65}" destId="{E1D442E6-50DE-42B6-B90C-5C2C51011D23}" srcOrd="0" destOrd="0" presId="urn:microsoft.com/office/officeart/2005/8/layout/hProcess6"/>
    <dgm:cxn modelId="{8254A09B-D619-4953-9569-2CEF4C5130C5}" srcId="{AA65B37E-18B0-4B17-B624-6B19E7071DA2}" destId="{6B582ED4-C7F0-4AFC-BB88-F7BFD483E930}" srcOrd="3" destOrd="0" parTransId="{20B495B7-F3DA-4CC3-850D-6C5DF39FD2D0}" sibTransId="{4DCCA12A-7A2D-4395-B061-44E36D67FE94}"/>
    <dgm:cxn modelId="{51A1B9A3-10DC-449B-8614-1D42B8EF6928}" type="presOf" srcId="{1D6522C6-665C-435E-8E74-F7C2FF3D9A85}" destId="{E387BFBC-C63C-4A0A-83FF-5C6BD40FE0AD}" srcOrd="0" destOrd="0" presId="urn:microsoft.com/office/officeart/2005/8/layout/hProcess6"/>
    <dgm:cxn modelId="{74B53AA7-DBA3-4562-BD3C-9344B31D18CF}" srcId="{3AE55F7F-75B1-439E-BA53-B37D664866EE}" destId="{1D6522C6-665C-435E-8E74-F7C2FF3D9A85}" srcOrd="0" destOrd="0" parTransId="{45B0C94C-457B-456E-A445-9049441BE68D}" sibTransId="{2295F34B-96E8-4850-A3C1-E10C726CEEFF}"/>
    <dgm:cxn modelId="{F9062AAB-DF5F-4C89-B395-EAAF59EF4A23}" srcId="{AA65B37E-18B0-4B17-B624-6B19E7071DA2}" destId="{84C72CF5-219D-4BD5-9C9D-A254C8D89207}" srcOrd="1" destOrd="0" parTransId="{1ED97603-C875-4459-8DCD-B6030CC31FBC}" sibTransId="{81C12626-CAF1-4EA4-B6A4-4B5EBD50AC45}"/>
    <dgm:cxn modelId="{8C7A09D0-10F7-48AA-BA5C-91C9F2C654CE}" type="presOf" srcId="{9002735A-32CE-48C3-9451-C486880ABB6E}" destId="{10DD6BAD-64EC-4FED-A093-E47B3435FEB8}" srcOrd="0" destOrd="0" presId="urn:microsoft.com/office/officeart/2005/8/layout/hProcess6"/>
    <dgm:cxn modelId="{7F1C83D9-97AA-4E1D-A4C1-3F0B767CFD95}" srcId="{84C72CF5-219D-4BD5-9C9D-A254C8D89207}" destId="{9002735A-32CE-48C3-9451-C486880ABB6E}" srcOrd="0" destOrd="0" parTransId="{24F453BB-CB2E-46BB-B020-10907A614924}" sibTransId="{374EB580-3735-498C-83CC-24C18DAAD305}"/>
    <dgm:cxn modelId="{30B0D5DF-B691-4D64-9D3E-6B692E2150C5}" type="presOf" srcId="{1D6522C6-665C-435E-8E74-F7C2FF3D9A85}" destId="{578EC520-2F4A-4003-918C-24A96C70AEA3}" srcOrd="1" destOrd="0" presId="urn:microsoft.com/office/officeart/2005/8/layout/hProcess6"/>
    <dgm:cxn modelId="{533075F2-86EA-4665-86CB-4C9912A7360A}" type="presOf" srcId="{59396125-F890-44F5-99B1-A7C00B8A5E5F}" destId="{3882616B-A82E-474A-BEAD-C7E94A589992}" srcOrd="0" destOrd="0" presId="urn:microsoft.com/office/officeart/2005/8/layout/hProcess6"/>
    <dgm:cxn modelId="{860A91FD-2447-4398-B120-60306A212CA3}" type="presParOf" srcId="{05799C90-4AC2-4BB0-AC67-07ACE1B686EB}" destId="{7C5E65AA-9628-471A-B3A5-FE5D83AB3E4C}" srcOrd="0" destOrd="0" presId="urn:microsoft.com/office/officeart/2005/8/layout/hProcess6"/>
    <dgm:cxn modelId="{9D8EFDD8-0F8D-45F9-AC9F-C371489EF0F8}" type="presParOf" srcId="{7C5E65AA-9628-471A-B3A5-FE5D83AB3E4C}" destId="{D62CEB07-0233-45AA-8BFD-A12AEF7DAFFB}" srcOrd="0" destOrd="0" presId="urn:microsoft.com/office/officeart/2005/8/layout/hProcess6"/>
    <dgm:cxn modelId="{978B6CCF-F6A2-42C9-B5A6-119F6ABCD025}" type="presParOf" srcId="{7C5E65AA-9628-471A-B3A5-FE5D83AB3E4C}" destId="{3882616B-A82E-474A-BEAD-C7E94A589992}" srcOrd="1" destOrd="0" presId="urn:microsoft.com/office/officeart/2005/8/layout/hProcess6"/>
    <dgm:cxn modelId="{B5ABFE04-477C-40B2-93A5-F4FA5014A09D}" type="presParOf" srcId="{7C5E65AA-9628-471A-B3A5-FE5D83AB3E4C}" destId="{C517722E-BF8F-4D3C-B7A8-80B66AC64535}" srcOrd="2" destOrd="0" presId="urn:microsoft.com/office/officeart/2005/8/layout/hProcess6"/>
    <dgm:cxn modelId="{CF7E6191-A670-458A-A665-62004F55B76D}" type="presParOf" srcId="{7C5E65AA-9628-471A-B3A5-FE5D83AB3E4C}" destId="{E1D442E6-50DE-42B6-B90C-5C2C51011D23}" srcOrd="3" destOrd="0" presId="urn:microsoft.com/office/officeart/2005/8/layout/hProcess6"/>
    <dgm:cxn modelId="{F46AD103-79E4-4FE4-AE46-A09F5CF5783F}" type="presParOf" srcId="{05799C90-4AC2-4BB0-AC67-07ACE1B686EB}" destId="{04D104A1-B254-4446-B033-8CF435FD54CC}" srcOrd="1" destOrd="0" presId="urn:microsoft.com/office/officeart/2005/8/layout/hProcess6"/>
    <dgm:cxn modelId="{4F143F23-C5A1-428D-ADF7-DFBD39BB2C4A}" type="presParOf" srcId="{05799C90-4AC2-4BB0-AC67-07ACE1B686EB}" destId="{FF60D303-F73D-46BF-97E7-D18BF366698B}" srcOrd="2" destOrd="0" presId="urn:microsoft.com/office/officeart/2005/8/layout/hProcess6"/>
    <dgm:cxn modelId="{58968BA5-4788-4EDF-860F-3DC1697DF758}" type="presParOf" srcId="{FF60D303-F73D-46BF-97E7-D18BF366698B}" destId="{1435EA7C-DF15-44A6-B019-2B0B5867FBE5}" srcOrd="0" destOrd="0" presId="urn:microsoft.com/office/officeart/2005/8/layout/hProcess6"/>
    <dgm:cxn modelId="{51C4A25D-8CFD-48BF-8C7D-845839AFF04D}" type="presParOf" srcId="{FF60D303-F73D-46BF-97E7-D18BF366698B}" destId="{10DD6BAD-64EC-4FED-A093-E47B3435FEB8}" srcOrd="1" destOrd="0" presId="urn:microsoft.com/office/officeart/2005/8/layout/hProcess6"/>
    <dgm:cxn modelId="{2D05A837-3E95-4AC6-997F-09C1C3B26444}" type="presParOf" srcId="{FF60D303-F73D-46BF-97E7-D18BF366698B}" destId="{8412D892-5A7A-4DA4-BF64-D8C9896306CE}" srcOrd="2" destOrd="0" presId="urn:microsoft.com/office/officeart/2005/8/layout/hProcess6"/>
    <dgm:cxn modelId="{CE446A52-2ECC-4728-B8B6-F7B1FD502F67}" type="presParOf" srcId="{FF60D303-F73D-46BF-97E7-D18BF366698B}" destId="{CDB9AC5A-1499-44E3-9A89-B7F7D8C924C1}" srcOrd="3" destOrd="0" presId="urn:microsoft.com/office/officeart/2005/8/layout/hProcess6"/>
    <dgm:cxn modelId="{A8731FF0-6960-4110-8B8C-763CC68C3EE9}" type="presParOf" srcId="{05799C90-4AC2-4BB0-AC67-07ACE1B686EB}" destId="{B7D9EBE5-2B61-47A2-BD00-04B2879EB0E4}" srcOrd="3" destOrd="0" presId="urn:microsoft.com/office/officeart/2005/8/layout/hProcess6"/>
    <dgm:cxn modelId="{0FCA32EC-C5ED-4B26-8AA7-FEC5A62D77F2}" type="presParOf" srcId="{05799C90-4AC2-4BB0-AC67-07ACE1B686EB}" destId="{BA7D5242-3994-41AF-B392-5B8D8DC2D60B}" srcOrd="4" destOrd="0" presId="urn:microsoft.com/office/officeart/2005/8/layout/hProcess6"/>
    <dgm:cxn modelId="{9E90A1AE-07A4-42C5-B715-F8E706B926D0}" type="presParOf" srcId="{BA7D5242-3994-41AF-B392-5B8D8DC2D60B}" destId="{1F3838E6-83F7-4117-BE6E-DEE043AFACEE}" srcOrd="0" destOrd="0" presId="urn:microsoft.com/office/officeart/2005/8/layout/hProcess6"/>
    <dgm:cxn modelId="{2DA17DD5-3F0D-4915-A5C3-AC66C5334C1A}" type="presParOf" srcId="{BA7D5242-3994-41AF-B392-5B8D8DC2D60B}" destId="{E387BFBC-C63C-4A0A-83FF-5C6BD40FE0AD}" srcOrd="1" destOrd="0" presId="urn:microsoft.com/office/officeart/2005/8/layout/hProcess6"/>
    <dgm:cxn modelId="{07F23219-84FD-48F3-B913-3E9B1420853C}" type="presParOf" srcId="{BA7D5242-3994-41AF-B392-5B8D8DC2D60B}" destId="{578EC520-2F4A-4003-918C-24A96C70AEA3}" srcOrd="2" destOrd="0" presId="urn:microsoft.com/office/officeart/2005/8/layout/hProcess6"/>
    <dgm:cxn modelId="{470D3D1A-5093-4766-9898-AF714E2F7A4D}" type="presParOf" srcId="{BA7D5242-3994-41AF-B392-5B8D8DC2D60B}" destId="{4C1F17AB-C49A-4053-9EDC-615D8389E1F5}" srcOrd="3" destOrd="0" presId="urn:microsoft.com/office/officeart/2005/8/layout/hProcess6"/>
    <dgm:cxn modelId="{A857FD50-D809-42CC-B441-FE7C3F930521}" type="presParOf" srcId="{05799C90-4AC2-4BB0-AC67-07ACE1B686EB}" destId="{53A5A7C9-676F-43BD-A97A-81A452A02140}" srcOrd="5" destOrd="0" presId="urn:microsoft.com/office/officeart/2005/8/layout/hProcess6"/>
    <dgm:cxn modelId="{69B7F410-0978-4232-8079-9536909AAE2E}" type="presParOf" srcId="{05799C90-4AC2-4BB0-AC67-07ACE1B686EB}" destId="{4E179402-C54E-4246-BA26-A536C745C890}" srcOrd="6" destOrd="0" presId="urn:microsoft.com/office/officeart/2005/8/layout/hProcess6"/>
    <dgm:cxn modelId="{A342893C-5A26-463D-9B36-AA80A2A7C249}" type="presParOf" srcId="{4E179402-C54E-4246-BA26-A536C745C890}" destId="{CB967702-63ED-44B9-9FF6-A81ADAC9DCE0}" srcOrd="0" destOrd="0" presId="urn:microsoft.com/office/officeart/2005/8/layout/hProcess6"/>
    <dgm:cxn modelId="{8A79BA94-875A-4878-945D-3EE34B38E457}" type="presParOf" srcId="{4E179402-C54E-4246-BA26-A536C745C890}" destId="{F8A5E368-4C95-4EC5-860C-BBD97D923610}" srcOrd="1" destOrd="0" presId="urn:microsoft.com/office/officeart/2005/8/layout/hProcess6"/>
    <dgm:cxn modelId="{E38CEBAA-91D9-4E34-B92B-9635FE968368}" type="presParOf" srcId="{4E179402-C54E-4246-BA26-A536C745C890}" destId="{E8EE89CC-6A70-424F-B485-8DDD49E7AEA7}" srcOrd="2" destOrd="0" presId="urn:microsoft.com/office/officeart/2005/8/layout/hProcess6"/>
    <dgm:cxn modelId="{85172700-1339-475C-AFA8-7DF726B39222}" type="presParOf" srcId="{4E179402-C54E-4246-BA26-A536C745C890}" destId="{5C44622F-2F88-4BA9-9BB1-D6951CE35127}" srcOrd="3" destOrd="0" presId="urn:microsoft.com/office/officeart/2005/8/layout/hProcess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046BC35-C90C-4C26-ADB1-3D8D2F623AC9}"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194E8726-9974-4906-B63B-5D1A2B0D2597}">
      <dgm:prSet/>
      <dgm:spPr/>
      <dgm:t>
        <a:bodyPr/>
        <a:lstStyle/>
        <a:p>
          <a:r>
            <a:rPr lang="en-US"/>
            <a:t>Can be either hosted online or local (GitHub, GitHub Enterprise)</a:t>
          </a:r>
        </a:p>
      </dgm:t>
    </dgm:pt>
    <dgm:pt modelId="{3C1EE5E5-06A9-4E49-AF53-CEFDB4EF81F9}" type="parTrans" cxnId="{39F01202-B2FF-46A1-BD23-789AFF6456D7}">
      <dgm:prSet/>
      <dgm:spPr/>
      <dgm:t>
        <a:bodyPr/>
        <a:lstStyle/>
        <a:p>
          <a:endParaRPr lang="en-US"/>
        </a:p>
      </dgm:t>
    </dgm:pt>
    <dgm:pt modelId="{09D55B1F-87D4-42BE-A5DC-AEB03E88FDB0}" type="sibTrans" cxnId="{39F01202-B2FF-46A1-BD23-789AFF6456D7}">
      <dgm:prSet/>
      <dgm:spPr/>
      <dgm:t>
        <a:bodyPr/>
        <a:lstStyle/>
        <a:p>
          <a:endParaRPr lang="en-US"/>
        </a:p>
      </dgm:t>
    </dgm:pt>
    <dgm:pt modelId="{7CF10A24-5472-4F6A-A832-5A679B258C80}">
      <dgm:prSet/>
      <dgm:spPr/>
      <dgm:t>
        <a:bodyPr/>
        <a:lstStyle/>
        <a:p>
          <a:r>
            <a:rPr lang="en-US"/>
            <a:t>Represents the main project</a:t>
          </a:r>
        </a:p>
      </dgm:t>
    </dgm:pt>
    <dgm:pt modelId="{7F6D6008-6B02-4E7A-8AA6-0C76F243E89D}" type="parTrans" cxnId="{672449AE-E00C-4971-9118-4EF1EE0EA785}">
      <dgm:prSet/>
      <dgm:spPr/>
      <dgm:t>
        <a:bodyPr/>
        <a:lstStyle/>
        <a:p>
          <a:endParaRPr lang="en-US"/>
        </a:p>
      </dgm:t>
    </dgm:pt>
    <dgm:pt modelId="{DD141008-E762-4654-A131-7C55F6ED08FC}" type="sibTrans" cxnId="{672449AE-E00C-4971-9118-4EF1EE0EA785}">
      <dgm:prSet/>
      <dgm:spPr/>
      <dgm:t>
        <a:bodyPr/>
        <a:lstStyle/>
        <a:p>
          <a:endParaRPr lang="en-US"/>
        </a:p>
      </dgm:t>
    </dgm:pt>
    <dgm:pt modelId="{7D43AC71-F1DB-4B12-8E46-D7291136FD05}">
      <dgm:prSet/>
      <dgm:spPr/>
      <dgm:t>
        <a:bodyPr/>
        <a:lstStyle/>
        <a:p>
          <a:r>
            <a:rPr lang="en-US"/>
            <a:t>Contains: files, commits, branches, and history for the entire project</a:t>
          </a:r>
        </a:p>
      </dgm:t>
    </dgm:pt>
    <dgm:pt modelId="{76121C61-39E8-495B-AE94-E67256ED8C45}" type="parTrans" cxnId="{14A06A69-2297-4478-B366-EEFBB2B4E79C}">
      <dgm:prSet/>
      <dgm:spPr/>
      <dgm:t>
        <a:bodyPr/>
        <a:lstStyle/>
        <a:p>
          <a:endParaRPr lang="en-US"/>
        </a:p>
      </dgm:t>
    </dgm:pt>
    <dgm:pt modelId="{32D3CEC1-7004-4C60-9BC6-318CA6D8763E}" type="sibTrans" cxnId="{14A06A69-2297-4478-B366-EEFBB2B4E79C}">
      <dgm:prSet/>
      <dgm:spPr/>
      <dgm:t>
        <a:bodyPr/>
        <a:lstStyle/>
        <a:p>
          <a:endParaRPr lang="en-US"/>
        </a:p>
      </dgm:t>
    </dgm:pt>
    <dgm:pt modelId="{523181A2-6335-4E4E-806B-4B5BBCA890A6}">
      <dgm:prSet/>
      <dgm:spPr/>
      <dgm:t>
        <a:bodyPr/>
        <a:lstStyle/>
        <a:p>
          <a:r>
            <a:rPr lang="en-US"/>
            <a:t>Best practices: </a:t>
          </a:r>
        </a:p>
      </dgm:t>
    </dgm:pt>
    <dgm:pt modelId="{1F2DF36C-CEAE-47B3-9160-585558D156CF}" type="parTrans" cxnId="{B1ABF63F-50B5-4CF2-BB07-C8512C589A43}">
      <dgm:prSet/>
      <dgm:spPr/>
      <dgm:t>
        <a:bodyPr/>
        <a:lstStyle/>
        <a:p>
          <a:endParaRPr lang="en-US"/>
        </a:p>
      </dgm:t>
    </dgm:pt>
    <dgm:pt modelId="{8BB49CBD-8379-46DE-A5A9-E182222803C3}" type="sibTrans" cxnId="{B1ABF63F-50B5-4CF2-BB07-C8512C589A43}">
      <dgm:prSet/>
      <dgm:spPr/>
      <dgm:t>
        <a:bodyPr/>
        <a:lstStyle/>
        <a:p>
          <a:endParaRPr lang="en-US"/>
        </a:p>
      </dgm:t>
    </dgm:pt>
    <dgm:pt modelId="{40EA2A8C-F841-4C6C-877F-77D100AB2AE0}">
      <dgm:prSet/>
      <dgm:spPr/>
      <dgm:t>
        <a:bodyPr/>
        <a:lstStyle/>
        <a:p>
          <a:pPr>
            <a:buFontTx/>
            <a:buNone/>
          </a:pPr>
          <a:r>
            <a:rPr lang="en-US"/>
            <a:t>Maintain a single source repository </a:t>
          </a:r>
        </a:p>
      </dgm:t>
    </dgm:pt>
    <dgm:pt modelId="{E2BB7BCE-99D5-4DB4-B2EE-113608BE718A}" type="parTrans" cxnId="{AC93FEED-036C-43B0-BDAB-30D9B85BEBDB}">
      <dgm:prSet/>
      <dgm:spPr/>
      <dgm:t>
        <a:bodyPr/>
        <a:lstStyle/>
        <a:p>
          <a:endParaRPr lang="en-US"/>
        </a:p>
      </dgm:t>
    </dgm:pt>
    <dgm:pt modelId="{BED87BAF-C71C-4C62-8C47-A6E9706FB252}" type="sibTrans" cxnId="{AC93FEED-036C-43B0-BDAB-30D9B85BEBDB}">
      <dgm:prSet/>
      <dgm:spPr/>
      <dgm:t>
        <a:bodyPr/>
        <a:lstStyle/>
        <a:p>
          <a:endParaRPr lang="en-US"/>
        </a:p>
      </dgm:t>
    </dgm:pt>
    <dgm:pt modelId="{49EA2DC8-7299-48E4-9ACE-008897799CE8}">
      <dgm:prSet/>
      <dgm:spPr/>
      <dgm:t>
        <a:bodyPr/>
        <a:lstStyle/>
        <a:p>
          <a:pPr>
            <a:buFontTx/>
            <a:buNone/>
          </a:pPr>
          <a:r>
            <a:rPr lang="en-US"/>
            <a:t>Place all needed content for a project in a single repository</a:t>
          </a:r>
        </a:p>
      </dgm:t>
    </dgm:pt>
    <dgm:pt modelId="{74CE1247-05B7-40D9-B4F0-C4D18E9B14A5}" type="parTrans" cxnId="{701689E5-AD7C-43F7-BC96-DC7E49D4F13D}">
      <dgm:prSet/>
      <dgm:spPr/>
      <dgm:t>
        <a:bodyPr/>
        <a:lstStyle/>
        <a:p>
          <a:endParaRPr lang="en-US"/>
        </a:p>
      </dgm:t>
    </dgm:pt>
    <dgm:pt modelId="{22572390-648A-4962-86AC-D0729481E1E9}" type="sibTrans" cxnId="{701689E5-AD7C-43F7-BC96-DC7E49D4F13D}">
      <dgm:prSet/>
      <dgm:spPr/>
      <dgm:t>
        <a:bodyPr/>
        <a:lstStyle/>
        <a:p>
          <a:endParaRPr lang="en-US"/>
        </a:p>
      </dgm:t>
    </dgm:pt>
    <dgm:pt modelId="{5790D276-D506-4EF5-BAB5-0198FA2E7D80}">
      <dgm:prSet/>
      <dgm:spPr/>
      <dgm:t>
        <a:bodyPr/>
        <a:lstStyle/>
        <a:p>
          <a:pPr>
            <a:buFontTx/>
            <a:buNone/>
          </a:pPr>
          <a:r>
            <a:rPr lang="en-US"/>
            <a:t>Minimize branches</a:t>
          </a:r>
        </a:p>
      </dgm:t>
    </dgm:pt>
    <dgm:pt modelId="{53BD36B5-EF83-463A-9F7E-FF99B334267F}" type="parTrans" cxnId="{8F406F58-404C-4D48-9740-18CA17A000B0}">
      <dgm:prSet/>
      <dgm:spPr/>
      <dgm:t>
        <a:bodyPr/>
        <a:lstStyle/>
        <a:p>
          <a:endParaRPr lang="en-US"/>
        </a:p>
      </dgm:t>
    </dgm:pt>
    <dgm:pt modelId="{CA0237F1-757A-48D4-BE61-18B2857C4C3F}" type="sibTrans" cxnId="{8F406F58-404C-4D48-9740-18CA17A000B0}">
      <dgm:prSet/>
      <dgm:spPr/>
      <dgm:t>
        <a:bodyPr/>
        <a:lstStyle/>
        <a:p>
          <a:endParaRPr lang="en-US"/>
        </a:p>
      </dgm:t>
    </dgm:pt>
    <dgm:pt modelId="{01C25ACE-EF3C-4589-81A7-437145DABC24}" type="pres">
      <dgm:prSet presAssocID="{0046BC35-C90C-4C26-ADB1-3D8D2F623AC9}" presName="root" presStyleCnt="0">
        <dgm:presLayoutVars>
          <dgm:dir/>
          <dgm:resizeHandles val="exact"/>
        </dgm:presLayoutVars>
      </dgm:prSet>
      <dgm:spPr/>
    </dgm:pt>
    <dgm:pt modelId="{F0549EA5-853C-47AC-83CB-E3D5081A6CA0}" type="pres">
      <dgm:prSet presAssocID="{194E8726-9974-4906-B63B-5D1A2B0D2597}" presName="compNode" presStyleCnt="0"/>
      <dgm:spPr/>
    </dgm:pt>
    <dgm:pt modelId="{9EC693E2-3110-4855-8EE9-E66F1E233C20}" type="pres">
      <dgm:prSet presAssocID="{194E8726-9974-4906-B63B-5D1A2B0D2597}" presName="bgRect" presStyleLbl="bgShp" presStyleIdx="0" presStyleCnt="4"/>
      <dgm:spPr/>
    </dgm:pt>
    <dgm:pt modelId="{F685725B-FCD5-46E6-854E-B057DAA3DF04}" type="pres">
      <dgm:prSet presAssocID="{194E8726-9974-4906-B63B-5D1A2B0D2597}"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itcoin"/>
        </a:ext>
      </dgm:extLst>
    </dgm:pt>
    <dgm:pt modelId="{70477956-E4FA-4E6B-8E70-F215A1C7C9A2}" type="pres">
      <dgm:prSet presAssocID="{194E8726-9974-4906-B63B-5D1A2B0D2597}" presName="spaceRect" presStyleCnt="0"/>
      <dgm:spPr/>
    </dgm:pt>
    <dgm:pt modelId="{90365817-AC47-4315-A8D0-15DBBF0FB1DD}" type="pres">
      <dgm:prSet presAssocID="{194E8726-9974-4906-B63B-5D1A2B0D2597}" presName="parTx" presStyleLbl="revTx" presStyleIdx="0" presStyleCnt="5">
        <dgm:presLayoutVars>
          <dgm:chMax val="0"/>
          <dgm:chPref val="0"/>
        </dgm:presLayoutVars>
      </dgm:prSet>
      <dgm:spPr/>
    </dgm:pt>
    <dgm:pt modelId="{0522C5A7-8E44-4848-A890-86514462D6B1}" type="pres">
      <dgm:prSet presAssocID="{09D55B1F-87D4-42BE-A5DC-AEB03E88FDB0}" presName="sibTrans" presStyleCnt="0"/>
      <dgm:spPr/>
    </dgm:pt>
    <dgm:pt modelId="{D1B1F4A5-2017-4D99-A5E5-18F8F4A11C5C}" type="pres">
      <dgm:prSet presAssocID="{7CF10A24-5472-4F6A-A832-5A679B258C80}" presName="compNode" presStyleCnt="0"/>
      <dgm:spPr/>
    </dgm:pt>
    <dgm:pt modelId="{5239E68A-B36B-476B-92AA-97944AD35F97}" type="pres">
      <dgm:prSet presAssocID="{7CF10A24-5472-4F6A-A832-5A679B258C80}" presName="bgRect" presStyleLbl="bgShp" presStyleIdx="1" presStyleCnt="4"/>
      <dgm:spPr/>
    </dgm:pt>
    <dgm:pt modelId="{3562714A-43B9-44F6-BE34-B059FE4B5A44}" type="pres">
      <dgm:prSet presAssocID="{7CF10A24-5472-4F6A-A832-5A679B258C80}"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nternetOfThings"/>
        </a:ext>
      </dgm:extLst>
    </dgm:pt>
    <dgm:pt modelId="{073E3A87-A83F-4503-872B-2A4F144734E2}" type="pres">
      <dgm:prSet presAssocID="{7CF10A24-5472-4F6A-A832-5A679B258C80}" presName="spaceRect" presStyleCnt="0"/>
      <dgm:spPr/>
    </dgm:pt>
    <dgm:pt modelId="{191F9D8D-B710-46A1-B96D-564AF93FA67E}" type="pres">
      <dgm:prSet presAssocID="{7CF10A24-5472-4F6A-A832-5A679B258C80}" presName="parTx" presStyleLbl="revTx" presStyleIdx="1" presStyleCnt="5">
        <dgm:presLayoutVars>
          <dgm:chMax val="0"/>
          <dgm:chPref val="0"/>
        </dgm:presLayoutVars>
      </dgm:prSet>
      <dgm:spPr/>
    </dgm:pt>
    <dgm:pt modelId="{B3E89147-317D-4DCF-973A-A68F0157DDFE}" type="pres">
      <dgm:prSet presAssocID="{DD141008-E762-4654-A131-7C55F6ED08FC}" presName="sibTrans" presStyleCnt="0"/>
      <dgm:spPr/>
    </dgm:pt>
    <dgm:pt modelId="{014072E4-858B-4F6E-BBF5-3530DC957274}" type="pres">
      <dgm:prSet presAssocID="{7D43AC71-F1DB-4B12-8E46-D7291136FD05}" presName="compNode" presStyleCnt="0"/>
      <dgm:spPr/>
    </dgm:pt>
    <dgm:pt modelId="{BCFABE3B-A32B-428D-B324-E4E1052F855C}" type="pres">
      <dgm:prSet presAssocID="{7D43AC71-F1DB-4B12-8E46-D7291136FD05}" presName="bgRect" presStyleLbl="bgShp" presStyleIdx="2" presStyleCnt="4"/>
      <dgm:spPr/>
    </dgm:pt>
    <dgm:pt modelId="{F13015CC-6270-4A34-BB6A-AE213D570A48}" type="pres">
      <dgm:prSet presAssocID="{7D43AC71-F1DB-4B12-8E46-D7291136FD0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Disconnected"/>
        </a:ext>
      </dgm:extLst>
    </dgm:pt>
    <dgm:pt modelId="{26A3528D-58EC-482A-A6AE-CFE299BFBAB4}" type="pres">
      <dgm:prSet presAssocID="{7D43AC71-F1DB-4B12-8E46-D7291136FD05}" presName="spaceRect" presStyleCnt="0"/>
      <dgm:spPr/>
    </dgm:pt>
    <dgm:pt modelId="{7F6C3A86-4641-4818-9D63-71DB1DC087DA}" type="pres">
      <dgm:prSet presAssocID="{7D43AC71-F1DB-4B12-8E46-D7291136FD05}" presName="parTx" presStyleLbl="revTx" presStyleIdx="2" presStyleCnt="5">
        <dgm:presLayoutVars>
          <dgm:chMax val="0"/>
          <dgm:chPref val="0"/>
        </dgm:presLayoutVars>
      </dgm:prSet>
      <dgm:spPr/>
    </dgm:pt>
    <dgm:pt modelId="{0C2F5A43-5A2F-4493-8CF1-D090AC2C903D}" type="pres">
      <dgm:prSet presAssocID="{32D3CEC1-7004-4C60-9BC6-318CA6D8763E}" presName="sibTrans" presStyleCnt="0"/>
      <dgm:spPr/>
    </dgm:pt>
    <dgm:pt modelId="{9D78EAA9-4162-40E8-9D34-01912F0355BB}" type="pres">
      <dgm:prSet presAssocID="{523181A2-6335-4E4E-806B-4B5BBCA890A6}" presName="compNode" presStyleCnt="0"/>
      <dgm:spPr/>
    </dgm:pt>
    <dgm:pt modelId="{105B2545-8AC3-433D-BDE1-6E6FFA9E49E4}" type="pres">
      <dgm:prSet presAssocID="{523181A2-6335-4E4E-806B-4B5BBCA890A6}" presName="bgRect" presStyleLbl="bgShp" presStyleIdx="3" presStyleCnt="4"/>
      <dgm:spPr/>
    </dgm:pt>
    <dgm:pt modelId="{606DBA74-1497-4A53-B8A8-47309FF99FB9}" type="pres">
      <dgm:prSet presAssocID="{523181A2-6335-4E4E-806B-4B5BBCA890A6}"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atabase"/>
        </a:ext>
      </dgm:extLst>
    </dgm:pt>
    <dgm:pt modelId="{27B6FAFC-D3A8-4C4E-9365-E10FBA49B3B8}" type="pres">
      <dgm:prSet presAssocID="{523181A2-6335-4E4E-806B-4B5BBCA890A6}" presName="spaceRect" presStyleCnt="0"/>
      <dgm:spPr/>
    </dgm:pt>
    <dgm:pt modelId="{64E074FD-3198-4894-8E0B-D759AC8BB666}" type="pres">
      <dgm:prSet presAssocID="{523181A2-6335-4E4E-806B-4B5BBCA890A6}" presName="parTx" presStyleLbl="revTx" presStyleIdx="3" presStyleCnt="5">
        <dgm:presLayoutVars>
          <dgm:chMax val="0"/>
          <dgm:chPref val="0"/>
        </dgm:presLayoutVars>
      </dgm:prSet>
      <dgm:spPr/>
    </dgm:pt>
    <dgm:pt modelId="{B7648562-62EA-4B2B-BD90-FDBB5F7206C8}" type="pres">
      <dgm:prSet presAssocID="{523181A2-6335-4E4E-806B-4B5BBCA890A6}" presName="desTx" presStyleLbl="revTx" presStyleIdx="4" presStyleCnt="5" custLinFactNeighborX="-58934">
        <dgm:presLayoutVars/>
      </dgm:prSet>
      <dgm:spPr/>
    </dgm:pt>
  </dgm:ptLst>
  <dgm:cxnLst>
    <dgm:cxn modelId="{39F01202-B2FF-46A1-BD23-789AFF6456D7}" srcId="{0046BC35-C90C-4C26-ADB1-3D8D2F623AC9}" destId="{194E8726-9974-4906-B63B-5D1A2B0D2597}" srcOrd="0" destOrd="0" parTransId="{3C1EE5E5-06A9-4E49-AF53-CEFDB4EF81F9}" sibTransId="{09D55B1F-87D4-42BE-A5DC-AEB03E88FDB0}"/>
    <dgm:cxn modelId="{B0349C05-AB9F-41FB-91F3-F3E2C3FB4DBE}" type="presOf" srcId="{523181A2-6335-4E4E-806B-4B5BBCA890A6}" destId="{64E074FD-3198-4894-8E0B-D759AC8BB666}" srcOrd="0" destOrd="0" presId="urn:microsoft.com/office/officeart/2018/2/layout/IconVerticalSolidList"/>
    <dgm:cxn modelId="{09642415-5D56-46C2-872D-0C11E87AB840}" type="presOf" srcId="{194E8726-9974-4906-B63B-5D1A2B0D2597}" destId="{90365817-AC47-4315-A8D0-15DBBF0FB1DD}" srcOrd="0" destOrd="0" presId="urn:microsoft.com/office/officeart/2018/2/layout/IconVerticalSolidList"/>
    <dgm:cxn modelId="{B1ABF63F-50B5-4CF2-BB07-C8512C589A43}" srcId="{0046BC35-C90C-4C26-ADB1-3D8D2F623AC9}" destId="{523181A2-6335-4E4E-806B-4B5BBCA890A6}" srcOrd="3" destOrd="0" parTransId="{1F2DF36C-CEAE-47B3-9160-585558D156CF}" sibTransId="{8BB49CBD-8379-46DE-A5A9-E182222803C3}"/>
    <dgm:cxn modelId="{14A06A69-2297-4478-B366-EEFBB2B4E79C}" srcId="{0046BC35-C90C-4C26-ADB1-3D8D2F623AC9}" destId="{7D43AC71-F1DB-4B12-8E46-D7291136FD05}" srcOrd="2" destOrd="0" parTransId="{76121C61-39E8-495B-AE94-E67256ED8C45}" sibTransId="{32D3CEC1-7004-4C60-9BC6-318CA6D8763E}"/>
    <dgm:cxn modelId="{8F406F58-404C-4D48-9740-18CA17A000B0}" srcId="{523181A2-6335-4E4E-806B-4B5BBCA890A6}" destId="{5790D276-D506-4EF5-BAB5-0198FA2E7D80}" srcOrd="2" destOrd="0" parTransId="{53BD36B5-EF83-463A-9F7E-FF99B334267F}" sibTransId="{CA0237F1-757A-48D4-BE61-18B2857C4C3F}"/>
    <dgm:cxn modelId="{F9238D7B-23B8-4C7F-B3B7-447626BD9983}" type="presOf" srcId="{0046BC35-C90C-4C26-ADB1-3D8D2F623AC9}" destId="{01C25ACE-EF3C-4589-81A7-437145DABC24}" srcOrd="0" destOrd="0" presId="urn:microsoft.com/office/officeart/2018/2/layout/IconVerticalSolidList"/>
    <dgm:cxn modelId="{326E9F9C-AD57-4F91-9233-FBF38E6F17AE}" type="presOf" srcId="{5790D276-D506-4EF5-BAB5-0198FA2E7D80}" destId="{B7648562-62EA-4B2B-BD90-FDBB5F7206C8}" srcOrd="0" destOrd="2" presId="urn:microsoft.com/office/officeart/2018/2/layout/IconVerticalSolidList"/>
    <dgm:cxn modelId="{672449AE-E00C-4971-9118-4EF1EE0EA785}" srcId="{0046BC35-C90C-4C26-ADB1-3D8D2F623AC9}" destId="{7CF10A24-5472-4F6A-A832-5A679B258C80}" srcOrd="1" destOrd="0" parTransId="{7F6D6008-6B02-4E7A-8AA6-0C76F243E89D}" sibTransId="{DD141008-E762-4654-A131-7C55F6ED08FC}"/>
    <dgm:cxn modelId="{D3ABE7B0-FC81-4786-ADD0-940804612F9F}" type="presOf" srcId="{40EA2A8C-F841-4C6C-877F-77D100AB2AE0}" destId="{B7648562-62EA-4B2B-BD90-FDBB5F7206C8}" srcOrd="0" destOrd="0" presId="urn:microsoft.com/office/officeart/2018/2/layout/IconVerticalSolidList"/>
    <dgm:cxn modelId="{2F05BFB3-3744-4A65-B5A2-6B1CC4044F9B}" type="presOf" srcId="{7D43AC71-F1DB-4B12-8E46-D7291136FD05}" destId="{7F6C3A86-4641-4818-9D63-71DB1DC087DA}" srcOrd="0" destOrd="0" presId="urn:microsoft.com/office/officeart/2018/2/layout/IconVerticalSolidList"/>
    <dgm:cxn modelId="{500EABCF-56B6-498E-93D2-1F63C0CF5735}" type="presOf" srcId="{7CF10A24-5472-4F6A-A832-5A679B258C80}" destId="{191F9D8D-B710-46A1-B96D-564AF93FA67E}" srcOrd="0" destOrd="0" presId="urn:microsoft.com/office/officeart/2018/2/layout/IconVerticalSolidList"/>
    <dgm:cxn modelId="{701689E5-AD7C-43F7-BC96-DC7E49D4F13D}" srcId="{523181A2-6335-4E4E-806B-4B5BBCA890A6}" destId="{49EA2DC8-7299-48E4-9ACE-008897799CE8}" srcOrd="1" destOrd="0" parTransId="{74CE1247-05B7-40D9-B4F0-C4D18E9B14A5}" sibTransId="{22572390-648A-4962-86AC-D0729481E1E9}"/>
    <dgm:cxn modelId="{AC93FEED-036C-43B0-BDAB-30D9B85BEBDB}" srcId="{523181A2-6335-4E4E-806B-4B5BBCA890A6}" destId="{40EA2A8C-F841-4C6C-877F-77D100AB2AE0}" srcOrd="0" destOrd="0" parTransId="{E2BB7BCE-99D5-4DB4-B2EE-113608BE718A}" sibTransId="{BED87BAF-C71C-4C62-8C47-A6E9706FB252}"/>
    <dgm:cxn modelId="{93A81EF5-D850-449B-A06A-37F412621FBD}" type="presOf" srcId="{49EA2DC8-7299-48E4-9ACE-008897799CE8}" destId="{B7648562-62EA-4B2B-BD90-FDBB5F7206C8}" srcOrd="0" destOrd="1" presId="urn:microsoft.com/office/officeart/2018/2/layout/IconVerticalSolidList"/>
    <dgm:cxn modelId="{2B6D7180-4C67-4059-AED0-D5DFED8D2D17}" type="presParOf" srcId="{01C25ACE-EF3C-4589-81A7-437145DABC24}" destId="{F0549EA5-853C-47AC-83CB-E3D5081A6CA0}" srcOrd="0" destOrd="0" presId="urn:microsoft.com/office/officeart/2018/2/layout/IconVerticalSolidList"/>
    <dgm:cxn modelId="{4C34B071-533A-4929-9379-CE12499BCC84}" type="presParOf" srcId="{F0549EA5-853C-47AC-83CB-E3D5081A6CA0}" destId="{9EC693E2-3110-4855-8EE9-E66F1E233C20}" srcOrd="0" destOrd="0" presId="urn:microsoft.com/office/officeart/2018/2/layout/IconVerticalSolidList"/>
    <dgm:cxn modelId="{C5411985-9ED5-4ADD-B457-2A640280C871}" type="presParOf" srcId="{F0549EA5-853C-47AC-83CB-E3D5081A6CA0}" destId="{F685725B-FCD5-46E6-854E-B057DAA3DF04}" srcOrd="1" destOrd="0" presId="urn:microsoft.com/office/officeart/2018/2/layout/IconVerticalSolidList"/>
    <dgm:cxn modelId="{A238F448-E069-4778-BBD8-EAA4975D8D7A}" type="presParOf" srcId="{F0549EA5-853C-47AC-83CB-E3D5081A6CA0}" destId="{70477956-E4FA-4E6B-8E70-F215A1C7C9A2}" srcOrd="2" destOrd="0" presId="urn:microsoft.com/office/officeart/2018/2/layout/IconVerticalSolidList"/>
    <dgm:cxn modelId="{2F442977-CF90-4C53-9A8C-41DA0E840A21}" type="presParOf" srcId="{F0549EA5-853C-47AC-83CB-E3D5081A6CA0}" destId="{90365817-AC47-4315-A8D0-15DBBF0FB1DD}" srcOrd="3" destOrd="0" presId="urn:microsoft.com/office/officeart/2018/2/layout/IconVerticalSolidList"/>
    <dgm:cxn modelId="{4D2D6E46-0E45-41BA-BB67-A4BD4566D9FA}" type="presParOf" srcId="{01C25ACE-EF3C-4589-81A7-437145DABC24}" destId="{0522C5A7-8E44-4848-A890-86514462D6B1}" srcOrd="1" destOrd="0" presId="urn:microsoft.com/office/officeart/2018/2/layout/IconVerticalSolidList"/>
    <dgm:cxn modelId="{F0B3F637-C4C5-405E-B322-2E04FE96DBD5}" type="presParOf" srcId="{01C25ACE-EF3C-4589-81A7-437145DABC24}" destId="{D1B1F4A5-2017-4D99-A5E5-18F8F4A11C5C}" srcOrd="2" destOrd="0" presId="urn:microsoft.com/office/officeart/2018/2/layout/IconVerticalSolidList"/>
    <dgm:cxn modelId="{7B4E3A71-1238-4EAC-9F87-8B656B174AA6}" type="presParOf" srcId="{D1B1F4A5-2017-4D99-A5E5-18F8F4A11C5C}" destId="{5239E68A-B36B-476B-92AA-97944AD35F97}" srcOrd="0" destOrd="0" presId="urn:microsoft.com/office/officeart/2018/2/layout/IconVerticalSolidList"/>
    <dgm:cxn modelId="{500E37E8-D5C9-4EB4-9F09-F6ED872872CE}" type="presParOf" srcId="{D1B1F4A5-2017-4D99-A5E5-18F8F4A11C5C}" destId="{3562714A-43B9-44F6-BE34-B059FE4B5A44}" srcOrd="1" destOrd="0" presId="urn:microsoft.com/office/officeart/2018/2/layout/IconVerticalSolidList"/>
    <dgm:cxn modelId="{1FCA8B2F-4A21-42C6-8A5E-0D8DA93D00D6}" type="presParOf" srcId="{D1B1F4A5-2017-4D99-A5E5-18F8F4A11C5C}" destId="{073E3A87-A83F-4503-872B-2A4F144734E2}" srcOrd="2" destOrd="0" presId="urn:microsoft.com/office/officeart/2018/2/layout/IconVerticalSolidList"/>
    <dgm:cxn modelId="{BA367373-DF6B-4735-8730-D7A5A72D7502}" type="presParOf" srcId="{D1B1F4A5-2017-4D99-A5E5-18F8F4A11C5C}" destId="{191F9D8D-B710-46A1-B96D-564AF93FA67E}" srcOrd="3" destOrd="0" presId="urn:microsoft.com/office/officeart/2018/2/layout/IconVerticalSolidList"/>
    <dgm:cxn modelId="{99DAE60D-66A6-477D-BFAF-CD52C4FCBA55}" type="presParOf" srcId="{01C25ACE-EF3C-4589-81A7-437145DABC24}" destId="{B3E89147-317D-4DCF-973A-A68F0157DDFE}" srcOrd="3" destOrd="0" presId="urn:microsoft.com/office/officeart/2018/2/layout/IconVerticalSolidList"/>
    <dgm:cxn modelId="{4F2CAF7B-3F03-42EF-91E9-0F962A321504}" type="presParOf" srcId="{01C25ACE-EF3C-4589-81A7-437145DABC24}" destId="{014072E4-858B-4F6E-BBF5-3530DC957274}" srcOrd="4" destOrd="0" presId="urn:microsoft.com/office/officeart/2018/2/layout/IconVerticalSolidList"/>
    <dgm:cxn modelId="{C410069D-5DF6-4215-AB01-592E17415D56}" type="presParOf" srcId="{014072E4-858B-4F6E-BBF5-3530DC957274}" destId="{BCFABE3B-A32B-428D-B324-E4E1052F855C}" srcOrd="0" destOrd="0" presId="urn:microsoft.com/office/officeart/2018/2/layout/IconVerticalSolidList"/>
    <dgm:cxn modelId="{D06CDD20-CFA0-43F1-8F67-9907FE46B2A2}" type="presParOf" srcId="{014072E4-858B-4F6E-BBF5-3530DC957274}" destId="{F13015CC-6270-4A34-BB6A-AE213D570A48}" srcOrd="1" destOrd="0" presId="urn:microsoft.com/office/officeart/2018/2/layout/IconVerticalSolidList"/>
    <dgm:cxn modelId="{A8B4EFAF-AC89-46C2-A62F-E193AF55B5A8}" type="presParOf" srcId="{014072E4-858B-4F6E-BBF5-3530DC957274}" destId="{26A3528D-58EC-482A-A6AE-CFE299BFBAB4}" srcOrd="2" destOrd="0" presId="urn:microsoft.com/office/officeart/2018/2/layout/IconVerticalSolidList"/>
    <dgm:cxn modelId="{3FD5351E-0977-4AD5-9335-C154CA2EF7A2}" type="presParOf" srcId="{014072E4-858B-4F6E-BBF5-3530DC957274}" destId="{7F6C3A86-4641-4818-9D63-71DB1DC087DA}" srcOrd="3" destOrd="0" presId="urn:microsoft.com/office/officeart/2018/2/layout/IconVerticalSolidList"/>
    <dgm:cxn modelId="{DBF95739-5F23-4A61-9C44-727A89FABFEA}" type="presParOf" srcId="{01C25ACE-EF3C-4589-81A7-437145DABC24}" destId="{0C2F5A43-5A2F-4493-8CF1-D090AC2C903D}" srcOrd="5" destOrd="0" presId="urn:microsoft.com/office/officeart/2018/2/layout/IconVerticalSolidList"/>
    <dgm:cxn modelId="{9388D50D-71C0-4CEA-89C8-A543365DD08F}" type="presParOf" srcId="{01C25ACE-EF3C-4589-81A7-437145DABC24}" destId="{9D78EAA9-4162-40E8-9D34-01912F0355BB}" srcOrd="6" destOrd="0" presId="urn:microsoft.com/office/officeart/2018/2/layout/IconVerticalSolidList"/>
    <dgm:cxn modelId="{8863B84F-9640-480A-B593-211CB379BA79}" type="presParOf" srcId="{9D78EAA9-4162-40E8-9D34-01912F0355BB}" destId="{105B2545-8AC3-433D-BDE1-6E6FFA9E49E4}" srcOrd="0" destOrd="0" presId="urn:microsoft.com/office/officeart/2018/2/layout/IconVerticalSolidList"/>
    <dgm:cxn modelId="{A35297B4-AB1B-42E0-A34F-47A2E9CD4F49}" type="presParOf" srcId="{9D78EAA9-4162-40E8-9D34-01912F0355BB}" destId="{606DBA74-1497-4A53-B8A8-47309FF99FB9}" srcOrd="1" destOrd="0" presId="urn:microsoft.com/office/officeart/2018/2/layout/IconVerticalSolidList"/>
    <dgm:cxn modelId="{2B14784E-E85E-4DD2-8B80-EED7BC423206}" type="presParOf" srcId="{9D78EAA9-4162-40E8-9D34-01912F0355BB}" destId="{27B6FAFC-D3A8-4C4E-9365-E10FBA49B3B8}" srcOrd="2" destOrd="0" presId="urn:microsoft.com/office/officeart/2018/2/layout/IconVerticalSolidList"/>
    <dgm:cxn modelId="{168A2F87-5937-4F1C-8479-132B366D5648}" type="presParOf" srcId="{9D78EAA9-4162-40E8-9D34-01912F0355BB}" destId="{64E074FD-3198-4894-8E0B-D759AC8BB666}" srcOrd="3" destOrd="0" presId="urn:microsoft.com/office/officeart/2018/2/layout/IconVerticalSolidList"/>
    <dgm:cxn modelId="{D29A57AF-1C57-40C1-84C3-836529931B69}" type="presParOf" srcId="{9D78EAA9-4162-40E8-9D34-01912F0355BB}" destId="{B7648562-62EA-4B2B-BD90-FDBB5F7206C8}" srcOrd="4"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5D29B14-239F-437B-836D-7E62B6F8E15B}" type="doc">
      <dgm:prSet loTypeId="urn:microsoft.com/office/officeart/2005/8/layout/process1" loCatId="process" qsTypeId="urn:microsoft.com/office/officeart/2005/8/quickstyle/simple1" qsCatId="simple" csTypeId="urn:microsoft.com/office/officeart/2005/8/colors/colorful1" csCatId="colorful" phldr="1"/>
      <dgm:spPr/>
    </dgm:pt>
    <dgm:pt modelId="{A0F70BC0-4EB0-4BBC-879F-02065621DA02}">
      <dgm:prSet phldrT="[Text]"/>
      <dgm:spPr/>
      <dgm:t>
        <a:bodyPr/>
        <a:lstStyle/>
        <a:p>
          <a:r>
            <a:rPr lang="en-US"/>
            <a:t>Create </a:t>
          </a:r>
          <a:r>
            <a:rPr lang="en-US">
              <a:latin typeface="Segoe UI Semibold"/>
            </a:rPr>
            <a:t>New</a:t>
          </a:r>
          <a:r>
            <a:rPr lang="en-US"/>
            <a:t> </a:t>
          </a:r>
          <a:r>
            <a:rPr lang="en-US">
              <a:latin typeface="Segoe UI Semibold"/>
            </a:rPr>
            <a:t>File</a:t>
          </a:r>
          <a:r>
            <a:rPr lang="en-US"/>
            <a:t>(s)</a:t>
          </a:r>
        </a:p>
      </dgm:t>
    </dgm:pt>
    <dgm:pt modelId="{38C1A4D5-4CF5-49A6-8A33-F23F396C93DB}" type="parTrans" cxnId="{851C21FB-78FC-497D-815D-5BD4A53FCFB6}">
      <dgm:prSet/>
      <dgm:spPr/>
      <dgm:t>
        <a:bodyPr/>
        <a:lstStyle/>
        <a:p>
          <a:endParaRPr lang="en-US"/>
        </a:p>
      </dgm:t>
    </dgm:pt>
    <dgm:pt modelId="{EE74A1C0-E68A-4C58-AC04-CF9D594BF023}" type="sibTrans" cxnId="{851C21FB-78FC-497D-815D-5BD4A53FCFB6}">
      <dgm:prSet/>
      <dgm:spPr/>
      <dgm:t>
        <a:bodyPr/>
        <a:lstStyle/>
        <a:p>
          <a:endParaRPr lang="en-US"/>
        </a:p>
      </dgm:t>
    </dgm:pt>
    <dgm:pt modelId="{D84CB310-203E-413B-B27D-56B1AF933A73}">
      <dgm:prSet phldrT="[Text]"/>
      <dgm:spPr/>
      <dgm:t>
        <a:bodyPr/>
        <a:lstStyle/>
        <a:p>
          <a:pPr rtl="0"/>
          <a:r>
            <a:rPr lang="en-US"/>
            <a:t>Add to </a:t>
          </a:r>
          <a:r>
            <a:rPr lang="en-US">
              <a:latin typeface="Segoe UI Semibold"/>
            </a:rPr>
            <a:t>Staging Area</a:t>
          </a:r>
          <a:endParaRPr lang="en-US"/>
        </a:p>
      </dgm:t>
    </dgm:pt>
    <dgm:pt modelId="{94A88172-4F4B-4482-AC15-0F52137F9B83}" type="parTrans" cxnId="{9328E9A4-9916-400B-A1CC-023453B561BD}">
      <dgm:prSet/>
      <dgm:spPr/>
      <dgm:t>
        <a:bodyPr/>
        <a:lstStyle/>
        <a:p>
          <a:endParaRPr lang="en-US"/>
        </a:p>
      </dgm:t>
    </dgm:pt>
    <dgm:pt modelId="{B6AD36AA-FECE-4C5F-8614-3E903858AD61}" type="sibTrans" cxnId="{9328E9A4-9916-400B-A1CC-023453B561BD}">
      <dgm:prSet/>
      <dgm:spPr/>
      <dgm:t>
        <a:bodyPr/>
        <a:lstStyle/>
        <a:p>
          <a:endParaRPr lang="en-US"/>
        </a:p>
      </dgm:t>
    </dgm:pt>
    <dgm:pt modelId="{EF0F0401-F492-443C-89A9-03BF64E35EA6}">
      <dgm:prSet phldrT="[Text]"/>
      <dgm:spPr/>
      <dgm:t>
        <a:bodyPr/>
        <a:lstStyle/>
        <a:p>
          <a:r>
            <a:rPr lang="en-US"/>
            <a:t>Commit </a:t>
          </a:r>
          <a:r>
            <a:rPr lang="en-US">
              <a:latin typeface="Segoe UI Semibold"/>
            </a:rPr>
            <a:t>File</a:t>
          </a:r>
          <a:r>
            <a:rPr lang="en-US"/>
            <a:t>(s)</a:t>
          </a:r>
        </a:p>
      </dgm:t>
    </dgm:pt>
    <dgm:pt modelId="{0E925E63-41C1-4D64-9AF8-1F36F6D343A1}" type="parTrans" cxnId="{D314FD4A-ACDC-46ED-93B0-25F8CC714DC9}">
      <dgm:prSet/>
      <dgm:spPr/>
      <dgm:t>
        <a:bodyPr/>
        <a:lstStyle/>
        <a:p>
          <a:endParaRPr lang="en-US"/>
        </a:p>
      </dgm:t>
    </dgm:pt>
    <dgm:pt modelId="{8CD7218E-4FA7-4C4E-949B-10D2EE880ABE}" type="sibTrans" cxnId="{D314FD4A-ACDC-46ED-93B0-25F8CC714DC9}">
      <dgm:prSet/>
      <dgm:spPr/>
      <dgm:t>
        <a:bodyPr/>
        <a:lstStyle/>
        <a:p>
          <a:endParaRPr lang="en-US"/>
        </a:p>
      </dgm:t>
    </dgm:pt>
    <dgm:pt modelId="{4B153761-6BE5-4702-A6FC-616D3D7A9A05}" type="pres">
      <dgm:prSet presAssocID="{85D29B14-239F-437B-836D-7E62B6F8E15B}" presName="Name0" presStyleCnt="0">
        <dgm:presLayoutVars>
          <dgm:dir/>
          <dgm:resizeHandles val="exact"/>
        </dgm:presLayoutVars>
      </dgm:prSet>
      <dgm:spPr/>
    </dgm:pt>
    <dgm:pt modelId="{3DA3C455-0C51-4FA5-8833-BD397111587A}" type="pres">
      <dgm:prSet presAssocID="{A0F70BC0-4EB0-4BBC-879F-02065621DA02}" presName="node" presStyleLbl="node1" presStyleIdx="0" presStyleCnt="3">
        <dgm:presLayoutVars>
          <dgm:bulletEnabled val="1"/>
        </dgm:presLayoutVars>
      </dgm:prSet>
      <dgm:spPr/>
    </dgm:pt>
    <dgm:pt modelId="{40913C26-632B-4A25-981B-387191125A46}" type="pres">
      <dgm:prSet presAssocID="{EE74A1C0-E68A-4C58-AC04-CF9D594BF023}" presName="sibTrans" presStyleLbl="sibTrans2D1" presStyleIdx="0" presStyleCnt="2"/>
      <dgm:spPr/>
    </dgm:pt>
    <dgm:pt modelId="{BA8C8970-4F59-4F48-80A1-8A8F7087478A}" type="pres">
      <dgm:prSet presAssocID="{EE74A1C0-E68A-4C58-AC04-CF9D594BF023}" presName="connectorText" presStyleLbl="sibTrans2D1" presStyleIdx="0" presStyleCnt="2"/>
      <dgm:spPr/>
    </dgm:pt>
    <dgm:pt modelId="{CC40913B-418D-45F5-AE88-A3B036D2545E}" type="pres">
      <dgm:prSet presAssocID="{D84CB310-203E-413B-B27D-56B1AF933A73}" presName="node" presStyleLbl="node1" presStyleIdx="1" presStyleCnt="3">
        <dgm:presLayoutVars>
          <dgm:bulletEnabled val="1"/>
        </dgm:presLayoutVars>
      </dgm:prSet>
      <dgm:spPr/>
    </dgm:pt>
    <dgm:pt modelId="{8B255428-0C07-474A-A566-F4F096D1CB3D}" type="pres">
      <dgm:prSet presAssocID="{B6AD36AA-FECE-4C5F-8614-3E903858AD61}" presName="sibTrans" presStyleLbl="sibTrans2D1" presStyleIdx="1" presStyleCnt="2"/>
      <dgm:spPr/>
    </dgm:pt>
    <dgm:pt modelId="{E3396EA5-F3A9-4797-9CA0-0D4DE98BEE16}" type="pres">
      <dgm:prSet presAssocID="{B6AD36AA-FECE-4C5F-8614-3E903858AD61}" presName="connectorText" presStyleLbl="sibTrans2D1" presStyleIdx="1" presStyleCnt="2"/>
      <dgm:spPr/>
    </dgm:pt>
    <dgm:pt modelId="{D8EA56C5-56B4-465D-A56A-5924490CF1FD}" type="pres">
      <dgm:prSet presAssocID="{EF0F0401-F492-443C-89A9-03BF64E35EA6}" presName="node" presStyleLbl="node1" presStyleIdx="2" presStyleCnt="3" custLinFactNeighborX="1343" custLinFactNeighborY="3133">
        <dgm:presLayoutVars>
          <dgm:bulletEnabled val="1"/>
        </dgm:presLayoutVars>
      </dgm:prSet>
      <dgm:spPr/>
    </dgm:pt>
  </dgm:ptLst>
  <dgm:cxnLst>
    <dgm:cxn modelId="{45141864-D2E0-490A-8156-BB61D407DD89}" type="presOf" srcId="{B6AD36AA-FECE-4C5F-8614-3E903858AD61}" destId="{E3396EA5-F3A9-4797-9CA0-0D4DE98BEE16}" srcOrd="1" destOrd="0" presId="urn:microsoft.com/office/officeart/2005/8/layout/process1"/>
    <dgm:cxn modelId="{8DB8AE46-174A-489D-9BCB-A070FE41CB63}" type="presOf" srcId="{D84CB310-203E-413B-B27D-56B1AF933A73}" destId="{CC40913B-418D-45F5-AE88-A3B036D2545E}" srcOrd="0" destOrd="0" presId="urn:microsoft.com/office/officeart/2005/8/layout/process1"/>
    <dgm:cxn modelId="{D314FD4A-ACDC-46ED-93B0-25F8CC714DC9}" srcId="{85D29B14-239F-437B-836D-7E62B6F8E15B}" destId="{EF0F0401-F492-443C-89A9-03BF64E35EA6}" srcOrd="2" destOrd="0" parTransId="{0E925E63-41C1-4D64-9AF8-1F36F6D343A1}" sibTransId="{8CD7218E-4FA7-4C4E-949B-10D2EE880ABE}"/>
    <dgm:cxn modelId="{CE55E74D-B98E-40DB-8723-EF80A9D3D3F2}" type="presOf" srcId="{A0F70BC0-4EB0-4BBC-879F-02065621DA02}" destId="{3DA3C455-0C51-4FA5-8833-BD397111587A}" srcOrd="0" destOrd="0" presId="urn:microsoft.com/office/officeart/2005/8/layout/process1"/>
    <dgm:cxn modelId="{2924B054-1170-4691-A2F9-C8B82381AB7B}" type="presOf" srcId="{B6AD36AA-FECE-4C5F-8614-3E903858AD61}" destId="{8B255428-0C07-474A-A566-F4F096D1CB3D}" srcOrd="0" destOrd="0" presId="urn:microsoft.com/office/officeart/2005/8/layout/process1"/>
    <dgm:cxn modelId="{6DCCE883-3CA3-4B88-8006-E43B47C57C77}" type="presOf" srcId="{85D29B14-239F-437B-836D-7E62B6F8E15B}" destId="{4B153761-6BE5-4702-A6FC-616D3D7A9A05}" srcOrd="0" destOrd="0" presId="urn:microsoft.com/office/officeart/2005/8/layout/process1"/>
    <dgm:cxn modelId="{9328E9A4-9916-400B-A1CC-023453B561BD}" srcId="{85D29B14-239F-437B-836D-7E62B6F8E15B}" destId="{D84CB310-203E-413B-B27D-56B1AF933A73}" srcOrd="1" destOrd="0" parTransId="{94A88172-4F4B-4482-AC15-0F52137F9B83}" sibTransId="{B6AD36AA-FECE-4C5F-8614-3E903858AD61}"/>
    <dgm:cxn modelId="{96342FB4-3C1C-484E-BDED-5CF0F6840F79}" type="presOf" srcId="{EE74A1C0-E68A-4C58-AC04-CF9D594BF023}" destId="{BA8C8970-4F59-4F48-80A1-8A8F7087478A}" srcOrd="1" destOrd="0" presId="urn:microsoft.com/office/officeart/2005/8/layout/process1"/>
    <dgm:cxn modelId="{6E37B0C7-B070-4DF5-B4DD-C686D593DF9A}" type="presOf" srcId="{EE74A1C0-E68A-4C58-AC04-CF9D594BF023}" destId="{40913C26-632B-4A25-981B-387191125A46}" srcOrd="0" destOrd="0" presId="urn:microsoft.com/office/officeart/2005/8/layout/process1"/>
    <dgm:cxn modelId="{8657DED1-90DC-452F-BD6B-EE6A0DE8BEA6}" type="presOf" srcId="{EF0F0401-F492-443C-89A9-03BF64E35EA6}" destId="{D8EA56C5-56B4-465D-A56A-5924490CF1FD}" srcOrd="0" destOrd="0" presId="urn:microsoft.com/office/officeart/2005/8/layout/process1"/>
    <dgm:cxn modelId="{851C21FB-78FC-497D-815D-5BD4A53FCFB6}" srcId="{85D29B14-239F-437B-836D-7E62B6F8E15B}" destId="{A0F70BC0-4EB0-4BBC-879F-02065621DA02}" srcOrd="0" destOrd="0" parTransId="{38C1A4D5-4CF5-49A6-8A33-F23F396C93DB}" sibTransId="{EE74A1C0-E68A-4C58-AC04-CF9D594BF023}"/>
    <dgm:cxn modelId="{B12C21DB-D2DA-4465-9DB5-A08352460A19}" type="presParOf" srcId="{4B153761-6BE5-4702-A6FC-616D3D7A9A05}" destId="{3DA3C455-0C51-4FA5-8833-BD397111587A}" srcOrd="0" destOrd="0" presId="urn:microsoft.com/office/officeart/2005/8/layout/process1"/>
    <dgm:cxn modelId="{F3F7BA97-C670-4717-80AB-84DB5493B843}" type="presParOf" srcId="{4B153761-6BE5-4702-A6FC-616D3D7A9A05}" destId="{40913C26-632B-4A25-981B-387191125A46}" srcOrd="1" destOrd="0" presId="urn:microsoft.com/office/officeart/2005/8/layout/process1"/>
    <dgm:cxn modelId="{3B0E5059-364C-413F-B353-BE36027607E6}" type="presParOf" srcId="{40913C26-632B-4A25-981B-387191125A46}" destId="{BA8C8970-4F59-4F48-80A1-8A8F7087478A}" srcOrd="0" destOrd="0" presId="urn:microsoft.com/office/officeart/2005/8/layout/process1"/>
    <dgm:cxn modelId="{736016D7-9DC1-4E2A-B34F-B89B338D7FBA}" type="presParOf" srcId="{4B153761-6BE5-4702-A6FC-616D3D7A9A05}" destId="{CC40913B-418D-45F5-AE88-A3B036D2545E}" srcOrd="2" destOrd="0" presId="urn:microsoft.com/office/officeart/2005/8/layout/process1"/>
    <dgm:cxn modelId="{88627CA4-2A17-4FE5-BDB1-872694440B19}" type="presParOf" srcId="{4B153761-6BE5-4702-A6FC-616D3D7A9A05}" destId="{8B255428-0C07-474A-A566-F4F096D1CB3D}" srcOrd="3" destOrd="0" presId="urn:microsoft.com/office/officeart/2005/8/layout/process1"/>
    <dgm:cxn modelId="{53EDE46B-E9E6-400E-84A7-92CA59AE3DB8}" type="presParOf" srcId="{8B255428-0C07-474A-A566-F4F096D1CB3D}" destId="{E3396EA5-F3A9-4797-9CA0-0D4DE98BEE16}" srcOrd="0" destOrd="0" presId="urn:microsoft.com/office/officeart/2005/8/layout/process1"/>
    <dgm:cxn modelId="{E90F2234-C21B-4050-B50E-06B11F3D7AFE}" type="presParOf" srcId="{4B153761-6BE5-4702-A6FC-616D3D7A9A05}" destId="{D8EA56C5-56B4-465D-A56A-5924490CF1FD}" srcOrd="4"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7CD270-4433-4CF9-806D-19F9166AB4B0}">
      <dsp:nvSpPr>
        <dsp:cNvPr id="0" name=""/>
        <dsp:cNvSpPr/>
      </dsp:nvSpPr>
      <dsp:spPr>
        <a:xfrm>
          <a:off x="260197" y="445"/>
          <a:ext cx="2409379" cy="144562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Version control of scripts, files, applications, etc.</a:t>
          </a:r>
          <a:endParaRPr lang="en-US" sz="2100" kern="1200"/>
        </a:p>
      </dsp:txBody>
      <dsp:txXfrm>
        <a:off x="260197" y="445"/>
        <a:ext cx="2409379" cy="1445627"/>
      </dsp:txXfrm>
    </dsp:sp>
    <dsp:sp modelId="{A6E7FDA6-F1D0-432C-BBB6-A5EB6AE32BA7}">
      <dsp:nvSpPr>
        <dsp:cNvPr id="0" name=""/>
        <dsp:cNvSpPr/>
      </dsp:nvSpPr>
      <dsp:spPr>
        <a:xfrm>
          <a:off x="2910514" y="445"/>
          <a:ext cx="2409379" cy="1445627"/>
        </a:xfrm>
        <a:prstGeom prst="rect">
          <a:avLst/>
        </a:prstGeom>
        <a:gradFill rotWithShape="0">
          <a:gsLst>
            <a:gs pos="0">
              <a:schemeClr val="accent2">
                <a:hueOff val="-1507884"/>
                <a:satOff val="6809"/>
                <a:lumOff val="2132"/>
                <a:alphaOff val="0"/>
                <a:satMod val="103000"/>
                <a:lumMod val="102000"/>
                <a:tint val="94000"/>
              </a:schemeClr>
            </a:gs>
            <a:gs pos="50000">
              <a:schemeClr val="accent2">
                <a:hueOff val="-1507884"/>
                <a:satOff val="6809"/>
                <a:lumOff val="2132"/>
                <a:alphaOff val="0"/>
                <a:satMod val="110000"/>
                <a:lumMod val="100000"/>
                <a:shade val="100000"/>
              </a:schemeClr>
            </a:gs>
            <a:gs pos="100000">
              <a:schemeClr val="accent2">
                <a:hueOff val="-1507884"/>
                <a:satOff val="6809"/>
                <a:lumOff val="213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Records changes to a file or set of files over time</a:t>
          </a:r>
          <a:endParaRPr lang="en-US" sz="2100" kern="1200"/>
        </a:p>
      </dsp:txBody>
      <dsp:txXfrm>
        <a:off x="2910514" y="445"/>
        <a:ext cx="2409379" cy="1445627"/>
      </dsp:txXfrm>
    </dsp:sp>
    <dsp:sp modelId="{3C5F0AB1-0191-4931-9A79-134EC762FB8E}">
      <dsp:nvSpPr>
        <dsp:cNvPr id="0" name=""/>
        <dsp:cNvSpPr/>
      </dsp:nvSpPr>
      <dsp:spPr>
        <a:xfrm>
          <a:off x="5560831" y="445"/>
          <a:ext cx="2409379" cy="1445627"/>
        </a:xfrm>
        <a:prstGeom prst="rect">
          <a:avLst/>
        </a:prstGeom>
        <a:gradFill rotWithShape="0">
          <a:gsLst>
            <a:gs pos="0">
              <a:schemeClr val="accent2">
                <a:hueOff val="-3015768"/>
                <a:satOff val="13618"/>
                <a:lumOff val="4264"/>
                <a:alphaOff val="0"/>
                <a:satMod val="103000"/>
                <a:lumMod val="102000"/>
                <a:tint val="94000"/>
              </a:schemeClr>
            </a:gs>
            <a:gs pos="50000">
              <a:schemeClr val="accent2">
                <a:hueOff val="-3015768"/>
                <a:satOff val="13618"/>
                <a:lumOff val="4264"/>
                <a:alphaOff val="0"/>
                <a:satMod val="110000"/>
                <a:lumMod val="100000"/>
                <a:shade val="100000"/>
              </a:schemeClr>
            </a:gs>
            <a:gs pos="100000">
              <a:schemeClr val="accent2">
                <a:hueOff val="-3015768"/>
                <a:satOff val="13618"/>
                <a:lumOff val="426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Allows file / project versioning</a:t>
          </a:r>
          <a:endParaRPr lang="en-US" sz="2100" kern="1200"/>
        </a:p>
      </dsp:txBody>
      <dsp:txXfrm>
        <a:off x="5560831" y="445"/>
        <a:ext cx="2409379" cy="1445627"/>
      </dsp:txXfrm>
    </dsp:sp>
    <dsp:sp modelId="{2830B0F6-31CF-40F4-956C-61FB6C750A86}">
      <dsp:nvSpPr>
        <dsp:cNvPr id="0" name=""/>
        <dsp:cNvSpPr/>
      </dsp:nvSpPr>
      <dsp:spPr>
        <a:xfrm>
          <a:off x="8211148" y="445"/>
          <a:ext cx="2409379" cy="1445627"/>
        </a:xfrm>
        <a:prstGeom prst="rect">
          <a:avLst/>
        </a:prstGeom>
        <a:gradFill rotWithShape="0">
          <a:gsLst>
            <a:gs pos="0">
              <a:schemeClr val="accent2">
                <a:hueOff val="-4523652"/>
                <a:satOff val="20427"/>
                <a:lumOff val="6396"/>
                <a:alphaOff val="0"/>
                <a:satMod val="103000"/>
                <a:lumMod val="102000"/>
                <a:tint val="94000"/>
              </a:schemeClr>
            </a:gs>
            <a:gs pos="50000">
              <a:schemeClr val="accent2">
                <a:hueOff val="-4523652"/>
                <a:satOff val="20427"/>
                <a:lumOff val="6396"/>
                <a:alphaOff val="0"/>
                <a:satMod val="110000"/>
                <a:lumMod val="100000"/>
                <a:shade val="100000"/>
              </a:schemeClr>
            </a:gs>
            <a:gs pos="100000">
              <a:schemeClr val="accent2">
                <a:hueOff val="-4523652"/>
                <a:satOff val="20427"/>
                <a:lumOff val="639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Local or centralized</a:t>
          </a:r>
          <a:endParaRPr lang="en-US" sz="2100" kern="1200"/>
        </a:p>
      </dsp:txBody>
      <dsp:txXfrm>
        <a:off x="8211148" y="445"/>
        <a:ext cx="2409379" cy="1445627"/>
      </dsp:txXfrm>
    </dsp:sp>
    <dsp:sp modelId="{B8186457-F44D-4117-96EC-C38C43255AFC}">
      <dsp:nvSpPr>
        <dsp:cNvPr id="0" name=""/>
        <dsp:cNvSpPr/>
      </dsp:nvSpPr>
      <dsp:spPr>
        <a:xfrm>
          <a:off x="260197" y="1687011"/>
          <a:ext cx="2409379" cy="1445627"/>
        </a:xfrm>
        <a:prstGeom prst="rect">
          <a:avLst/>
        </a:prstGeom>
        <a:gradFill rotWithShape="0">
          <a:gsLst>
            <a:gs pos="0">
              <a:schemeClr val="accent2">
                <a:hueOff val="-6031536"/>
                <a:satOff val="27236"/>
                <a:lumOff val="8528"/>
                <a:alphaOff val="0"/>
                <a:satMod val="103000"/>
                <a:lumMod val="102000"/>
                <a:tint val="94000"/>
              </a:schemeClr>
            </a:gs>
            <a:gs pos="50000">
              <a:schemeClr val="accent2">
                <a:hueOff val="-6031536"/>
                <a:satOff val="27236"/>
                <a:lumOff val="8528"/>
                <a:alphaOff val="0"/>
                <a:satMod val="110000"/>
                <a:lumMod val="100000"/>
                <a:shade val="100000"/>
              </a:schemeClr>
            </a:gs>
            <a:gs pos="100000">
              <a:schemeClr val="accent2">
                <a:hueOff val="-6031536"/>
                <a:satOff val="27236"/>
                <a:lumOff val="852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Distributed version control change repository option</a:t>
          </a:r>
          <a:endParaRPr lang="en-US" sz="2100" kern="1200"/>
        </a:p>
      </dsp:txBody>
      <dsp:txXfrm>
        <a:off x="260197" y="1687011"/>
        <a:ext cx="2409379" cy="1445627"/>
      </dsp:txXfrm>
    </dsp:sp>
    <dsp:sp modelId="{D8B52EEC-023B-4087-B902-C27D6E4E6F8D}">
      <dsp:nvSpPr>
        <dsp:cNvPr id="0" name=""/>
        <dsp:cNvSpPr/>
      </dsp:nvSpPr>
      <dsp:spPr>
        <a:xfrm>
          <a:off x="2910514" y="1687011"/>
          <a:ext cx="2409379" cy="1445627"/>
        </a:xfrm>
        <a:prstGeom prst="rect">
          <a:avLst/>
        </a:prstGeom>
        <a:gradFill rotWithShape="0">
          <a:gsLst>
            <a:gs pos="0">
              <a:schemeClr val="accent2">
                <a:hueOff val="-7539420"/>
                <a:satOff val="34044"/>
                <a:lumOff val="10661"/>
                <a:alphaOff val="0"/>
                <a:satMod val="103000"/>
                <a:lumMod val="102000"/>
                <a:tint val="94000"/>
              </a:schemeClr>
            </a:gs>
            <a:gs pos="50000">
              <a:schemeClr val="accent2">
                <a:hueOff val="-7539420"/>
                <a:satOff val="34044"/>
                <a:lumOff val="10661"/>
                <a:alphaOff val="0"/>
                <a:satMod val="110000"/>
                <a:lumMod val="100000"/>
                <a:shade val="100000"/>
              </a:schemeClr>
            </a:gs>
            <a:gs pos="100000">
              <a:schemeClr val="accent2">
                <a:hueOff val="-7539420"/>
                <a:satOff val="34044"/>
                <a:lumOff val="1066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Easily swap versions</a:t>
          </a:r>
          <a:endParaRPr lang="en-US" sz="2100" kern="1200"/>
        </a:p>
      </dsp:txBody>
      <dsp:txXfrm>
        <a:off x="2910514" y="1687011"/>
        <a:ext cx="2409379" cy="1445627"/>
      </dsp:txXfrm>
    </dsp:sp>
    <dsp:sp modelId="{AE7618BB-F914-4516-8277-9A1287901F83}">
      <dsp:nvSpPr>
        <dsp:cNvPr id="0" name=""/>
        <dsp:cNvSpPr/>
      </dsp:nvSpPr>
      <dsp:spPr>
        <a:xfrm>
          <a:off x="5560831" y="1687011"/>
          <a:ext cx="2409379" cy="1445627"/>
        </a:xfrm>
        <a:prstGeom prst="rect">
          <a:avLst/>
        </a:prstGeom>
        <a:gradFill rotWithShape="0">
          <a:gsLst>
            <a:gs pos="0">
              <a:schemeClr val="accent2">
                <a:hueOff val="-9047304"/>
                <a:satOff val="40853"/>
                <a:lumOff val="12793"/>
                <a:alphaOff val="0"/>
                <a:satMod val="103000"/>
                <a:lumMod val="102000"/>
                <a:tint val="94000"/>
              </a:schemeClr>
            </a:gs>
            <a:gs pos="50000">
              <a:schemeClr val="accent2">
                <a:hueOff val="-9047304"/>
                <a:satOff val="40853"/>
                <a:lumOff val="12793"/>
                <a:alphaOff val="0"/>
                <a:satMod val="110000"/>
                <a:lumMod val="100000"/>
                <a:shade val="100000"/>
              </a:schemeClr>
            </a:gs>
            <a:gs pos="100000">
              <a:schemeClr val="accent2">
                <a:hueOff val="-9047304"/>
                <a:satOff val="40853"/>
                <a:lumOff val="1279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Ideal for teams</a:t>
          </a:r>
          <a:endParaRPr lang="en-US" sz="2100" kern="1200"/>
        </a:p>
      </dsp:txBody>
      <dsp:txXfrm>
        <a:off x="5560831" y="1687011"/>
        <a:ext cx="2409379" cy="1445627"/>
      </dsp:txXfrm>
    </dsp:sp>
    <dsp:sp modelId="{434D329E-1D49-4608-B7DA-6CA7113F1377}">
      <dsp:nvSpPr>
        <dsp:cNvPr id="0" name=""/>
        <dsp:cNvSpPr/>
      </dsp:nvSpPr>
      <dsp:spPr>
        <a:xfrm>
          <a:off x="8211148" y="1687011"/>
          <a:ext cx="2409379" cy="1445627"/>
        </a:xfrm>
        <a:prstGeom prst="rect">
          <a:avLst/>
        </a:prstGeom>
        <a:gradFill rotWithShape="0">
          <a:gsLst>
            <a:gs pos="0">
              <a:schemeClr val="accent2">
                <a:hueOff val="-10555188"/>
                <a:satOff val="47662"/>
                <a:lumOff val="14925"/>
                <a:alphaOff val="0"/>
                <a:satMod val="103000"/>
                <a:lumMod val="102000"/>
                <a:tint val="94000"/>
              </a:schemeClr>
            </a:gs>
            <a:gs pos="50000">
              <a:schemeClr val="accent2">
                <a:hueOff val="-10555188"/>
                <a:satOff val="47662"/>
                <a:lumOff val="14925"/>
                <a:alphaOff val="0"/>
                <a:satMod val="110000"/>
                <a:lumMod val="100000"/>
                <a:shade val="100000"/>
              </a:schemeClr>
            </a:gs>
            <a:gs pos="100000">
              <a:schemeClr val="accent2">
                <a:hueOff val="-10555188"/>
                <a:satOff val="47662"/>
                <a:lumOff val="1492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Undo changes</a:t>
          </a:r>
          <a:endParaRPr lang="en-US" sz="2100" kern="1200"/>
        </a:p>
      </dsp:txBody>
      <dsp:txXfrm>
        <a:off x="8211148" y="1687011"/>
        <a:ext cx="2409379" cy="1445627"/>
      </dsp:txXfrm>
    </dsp:sp>
    <dsp:sp modelId="{92EAE535-0C08-41E6-BDB3-FCA389471929}">
      <dsp:nvSpPr>
        <dsp:cNvPr id="0" name=""/>
        <dsp:cNvSpPr/>
      </dsp:nvSpPr>
      <dsp:spPr>
        <a:xfrm>
          <a:off x="4235672" y="3373576"/>
          <a:ext cx="2409379" cy="1445627"/>
        </a:xfrm>
        <a:prstGeom prst="rect">
          <a:avLst/>
        </a:prstGeom>
        <a:gradFill rotWithShape="0">
          <a:gsLst>
            <a:gs pos="0">
              <a:schemeClr val="accent2">
                <a:hueOff val="-12063073"/>
                <a:satOff val="54471"/>
                <a:lumOff val="17057"/>
                <a:alphaOff val="0"/>
                <a:satMod val="103000"/>
                <a:lumMod val="102000"/>
                <a:tint val="94000"/>
              </a:schemeClr>
            </a:gs>
            <a:gs pos="50000">
              <a:schemeClr val="accent2">
                <a:hueOff val="-12063073"/>
                <a:satOff val="54471"/>
                <a:lumOff val="17057"/>
                <a:alphaOff val="0"/>
                <a:satMod val="110000"/>
                <a:lumMod val="100000"/>
                <a:shade val="100000"/>
              </a:schemeClr>
            </a:gs>
            <a:gs pos="100000">
              <a:schemeClr val="accent2">
                <a:hueOff val="-12063073"/>
                <a:satOff val="54471"/>
                <a:lumOff val="1705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Stored on each machine</a:t>
          </a:r>
          <a:endParaRPr lang="en-US" sz="2100" kern="1200"/>
        </a:p>
      </dsp:txBody>
      <dsp:txXfrm>
        <a:off x="4235672" y="3373576"/>
        <a:ext cx="2409379" cy="14456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9151DC-350F-46FE-A129-05F05CF8892E}">
      <dsp:nvSpPr>
        <dsp:cNvPr id="0" name=""/>
        <dsp:cNvSpPr/>
      </dsp:nvSpPr>
      <dsp:spPr>
        <a:xfrm>
          <a:off x="2146363" y="472904"/>
          <a:ext cx="1512000" cy="1512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3BAFFA5-74A0-4F80-A1EE-B49658FCA72C}">
      <dsp:nvSpPr>
        <dsp:cNvPr id="0" name=""/>
        <dsp:cNvSpPr/>
      </dsp:nvSpPr>
      <dsp:spPr>
        <a:xfrm>
          <a:off x="742363" y="2151479"/>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600200">
            <a:lnSpc>
              <a:spcPct val="100000"/>
            </a:lnSpc>
            <a:spcBef>
              <a:spcPct val="0"/>
            </a:spcBef>
            <a:spcAft>
              <a:spcPct val="35000"/>
            </a:spcAft>
            <a:buNone/>
            <a:defRPr b="1"/>
          </a:pPr>
          <a:r>
            <a:rPr lang="en-US" sz="3600" kern="1200"/>
            <a:t>Distributed</a:t>
          </a:r>
        </a:p>
      </dsp:txBody>
      <dsp:txXfrm>
        <a:off x="742363" y="2151479"/>
        <a:ext cx="4320000" cy="648000"/>
      </dsp:txXfrm>
    </dsp:sp>
    <dsp:sp modelId="{E5BA718A-FBFD-4146-91D0-A73745522F07}">
      <dsp:nvSpPr>
        <dsp:cNvPr id="0" name=""/>
        <dsp:cNvSpPr/>
      </dsp:nvSpPr>
      <dsp:spPr>
        <a:xfrm>
          <a:off x="742363" y="2876956"/>
          <a:ext cx="4320000" cy="1469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a:t>Everyone has a copy</a:t>
          </a:r>
        </a:p>
        <a:p>
          <a:pPr marL="0" lvl="0" indent="0" algn="ctr" defTabSz="755650">
            <a:lnSpc>
              <a:spcPct val="100000"/>
            </a:lnSpc>
            <a:spcBef>
              <a:spcPct val="0"/>
            </a:spcBef>
            <a:spcAft>
              <a:spcPct val="35000"/>
            </a:spcAft>
            <a:buNone/>
          </a:pPr>
          <a:r>
            <a:rPr lang="en-US" sz="1700" kern="1200"/>
            <a:t>Changes made locally</a:t>
          </a:r>
        </a:p>
        <a:p>
          <a:pPr marL="0" lvl="0" indent="0" algn="ctr" defTabSz="755650">
            <a:lnSpc>
              <a:spcPct val="100000"/>
            </a:lnSpc>
            <a:spcBef>
              <a:spcPct val="0"/>
            </a:spcBef>
            <a:spcAft>
              <a:spcPct val="35000"/>
            </a:spcAft>
            <a:buNone/>
          </a:pPr>
          <a:r>
            <a:rPr lang="en-US" sz="1700" kern="1200"/>
            <a:t>Merged with an online central copy</a:t>
          </a:r>
        </a:p>
        <a:p>
          <a:pPr marL="0" lvl="0" indent="0" algn="ctr" defTabSz="755650">
            <a:lnSpc>
              <a:spcPct val="100000"/>
            </a:lnSpc>
            <a:spcBef>
              <a:spcPct val="0"/>
            </a:spcBef>
            <a:spcAft>
              <a:spcPct val="35000"/>
            </a:spcAft>
            <a:buNone/>
          </a:pPr>
          <a:r>
            <a:rPr lang="en-US" sz="1700" kern="1200"/>
            <a:t>Doesn’t generally require connectivity</a:t>
          </a:r>
        </a:p>
      </dsp:txBody>
      <dsp:txXfrm>
        <a:off x="742363" y="2876956"/>
        <a:ext cx="4320000" cy="1469788"/>
      </dsp:txXfrm>
    </dsp:sp>
    <dsp:sp modelId="{E2742639-86C8-410D-8C05-CB0AE165B8AF}">
      <dsp:nvSpPr>
        <dsp:cNvPr id="0" name=""/>
        <dsp:cNvSpPr/>
      </dsp:nvSpPr>
      <dsp:spPr>
        <a:xfrm>
          <a:off x="7222363" y="472904"/>
          <a:ext cx="1512000" cy="1512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A1D2B19-0142-4C77-A639-411B25C14F24}">
      <dsp:nvSpPr>
        <dsp:cNvPr id="0" name=""/>
        <dsp:cNvSpPr/>
      </dsp:nvSpPr>
      <dsp:spPr>
        <a:xfrm>
          <a:off x="5818363" y="2151479"/>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600200">
            <a:lnSpc>
              <a:spcPct val="100000"/>
            </a:lnSpc>
            <a:spcBef>
              <a:spcPct val="0"/>
            </a:spcBef>
            <a:spcAft>
              <a:spcPct val="35000"/>
            </a:spcAft>
            <a:buNone/>
            <a:defRPr b="1"/>
          </a:pPr>
          <a:r>
            <a:rPr lang="en-US" sz="3600" kern="1200"/>
            <a:t>Centralized</a:t>
          </a:r>
        </a:p>
      </dsp:txBody>
      <dsp:txXfrm>
        <a:off x="5818363" y="2151479"/>
        <a:ext cx="4320000" cy="648000"/>
      </dsp:txXfrm>
    </dsp:sp>
    <dsp:sp modelId="{AD36E3B4-BBA9-499E-A55C-56B286F2D444}">
      <dsp:nvSpPr>
        <dsp:cNvPr id="0" name=""/>
        <dsp:cNvSpPr/>
      </dsp:nvSpPr>
      <dsp:spPr>
        <a:xfrm>
          <a:off x="5818363" y="2876956"/>
          <a:ext cx="4320000" cy="1469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a:t>Master copy is stored centrally</a:t>
          </a:r>
        </a:p>
        <a:p>
          <a:pPr marL="0" lvl="0" indent="0" algn="ctr" defTabSz="755650">
            <a:lnSpc>
              <a:spcPct val="100000"/>
            </a:lnSpc>
            <a:spcBef>
              <a:spcPct val="0"/>
            </a:spcBef>
            <a:spcAft>
              <a:spcPct val="35000"/>
            </a:spcAft>
            <a:buNone/>
          </a:pPr>
          <a:r>
            <a:rPr lang="en-US" sz="1700" kern="1200"/>
            <a:t>Requires network connectivity</a:t>
          </a:r>
        </a:p>
      </dsp:txBody>
      <dsp:txXfrm>
        <a:off x="5818363" y="2876956"/>
        <a:ext cx="4320000" cy="14697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D17632-0F44-442E-85FF-D8881A355F96}">
      <dsp:nvSpPr>
        <dsp:cNvPr id="0" name=""/>
        <dsp:cNvSpPr/>
      </dsp:nvSpPr>
      <dsp:spPr>
        <a:xfrm>
          <a:off x="0" y="99094"/>
          <a:ext cx="10880726" cy="6949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a:t>Continuous Integration (CI)</a:t>
          </a:r>
          <a:endParaRPr lang="en-US" sz="2700" kern="1200"/>
        </a:p>
      </dsp:txBody>
      <dsp:txXfrm>
        <a:off x="33926" y="133020"/>
        <a:ext cx="10812874" cy="627128"/>
      </dsp:txXfrm>
    </dsp:sp>
    <dsp:sp modelId="{FF119B6E-4A72-4A5A-97B3-65718B84B64B}">
      <dsp:nvSpPr>
        <dsp:cNvPr id="0" name=""/>
        <dsp:cNvSpPr/>
      </dsp:nvSpPr>
      <dsp:spPr>
        <a:xfrm>
          <a:off x="0" y="794074"/>
          <a:ext cx="10880726" cy="19561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a:t>Team develops from same repository</a:t>
          </a:r>
          <a:endParaRPr lang="en-US" sz="2100" kern="1200"/>
        </a:p>
        <a:p>
          <a:pPr marL="228600" lvl="1" indent="-228600" algn="l" defTabSz="933450">
            <a:lnSpc>
              <a:spcPct val="90000"/>
            </a:lnSpc>
            <a:spcBef>
              <a:spcPct val="0"/>
            </a:spcBef>
            <a:spcAft>
              <a:spcPct val="20000"/>
            </a:spcAft>
            <a:buChar char="•"/>
          </a:pPr>
          <a:r>
            <a:rPr lang="en-US" sz="2100" kern="1200" baseline="0"/>
            <a:t>Limited drift from master branch</a:t>
          </a:r>
          <a:endParaRPr lang="en-US" sz="2100" kern="1200"/>
        </a:p>
        <a:p>
          <a:pPr marL="228600" lvl="1" indent="-228600" algn="l" defTabSz="933450">
            <a:lnSpc>
              <a:spcPct val="90000"/>
            </a:lnSpc>
            <a:spcBef>
              <a:spcPct val="0"/>
            </a:spcBef>
            <a:spcAft>
              <a:spcPct val="20000"/>
            </a:spcAft>
            <a:buChar char="•"/>
          </a:pPr>
          <a:r>
            <a:rPr lang="en-US" sz="2100" kern="1200" baseline="0"/>
            <a:t>Results contain few bugs</a:t>
          </a:r>
          <a:endParaRPr lang="en-US" sz="2100" kern="1200"/>
        </a:p>
        <a:p>
          <a:pPr marL="228600" lvl="1" indent="-228600" algn="l" defTabSz="933450">
            <a:lnSpc>
              <a:spcPct val="90000"/>
            </a:lnSpc>
            <a:spcBef>
              <a:spcPct val="0"/>
            </a:spcBef>
            <a:spcAft>
              <a:spcPct val="20000"/>
            </a:spcAft>
            <a:buChar char="•"/>
          </a:pPr>
          <a:r>
            <a:rPr lang="en-US" sz="2100" kern="1200" baseline="0"/>
            <a:t>Software works properly</a:t>
          </a:r>
          <a:endParaRPr lang="en-US" sz="2100" kern="1200"/>
        </a:p>
        <a:p>
          <a:pPr marL="228600" lvl="1" indent="-228600" algn="l" defTabSz="933450">
            <a:lnSpc>
              <a:spcPct val="90000"/>
            </a:lnSpc>
            <a:spcBef>
              <a:spcPct val="0"/>
            </a:spcBef>
            <a:spcAft>
              <a:spcPct val="20000"/>
            </a:spcAft>
            <a:buChar char="•"/>
          </a:pPr>
          <a:endParaRPr lang="en-US" sz="2100" kern="1200" baseline="0">
            <a:latin typeface="Segoe UI Semibold"/>
          </a:endParaRPr>
        </a:p>
      </dsp:txBody>
      <dsp:txXfrm>
        <a:off x="0" y="794074"/>
        <a:ext cx="10880726" cy="1956150"/>
      </dsp:txXfrm>
    </dsp:sp>
    <dsp:sp modelId="{21E9410D-919C-4478-8028-D192E838CF32}">
      <dsp:nvSpPr>
        <dsp:cNvPr id="0" name=""/>
        <dsp:cNvSpPr/>
      </dsp:nvSpPr>
      <dsp:spPr>
        <a:xfrm>
          <a:off x="0" y="2750224"/>
          <a:ext cx="10880726" cy="694980"/>
        </a:xfrm>
        <a:prstGeom prst="roundRect">
          <a:avLst/>
        </a:prstGeom>
        <a:solidFill>
          <a:schemeClr val="accent4">
            <a:hueOff val="8532010"/>
            <a:satOff val="-30852"/>
            <a:lumOff val="301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a:t>Continuous Delivery (CD)</a:t>
          </a:r>
          <a:endParaRPr lang="en-US" sz="2700" kern="1200"/>
        </a:p>
      </dsp:txBody>
      <dsp:txXfrm>
        <a:off x="33926" y="2784150"/>
        <a:ext cx="10812874" cy="627128"/>
      </dsp:txXfrm>
    </dsp:sp>
    <dsp:sp modelId="{16827173-A2DA-411A-A1D0-56A0D09F286D}">
      <dsp:nvSpPr>
        <dsp:cNvPr id="0" name=""/>
        <dsp:cNvSpPr/>
      </dsp:nvSpPr>
      <dsp:spPr>
        <a:xfrm>
          <a:off x="0" y="3445204"/>
          <a:ext cx="10880726" cy="1509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a:t>Produce software/updates in short cycles</a:t>
          </a:r>
          <a:endParaRPr lang="en-US" sz="2100" kern="1200"/>
        </a:p>
        <a:p>
          <a:pPr marL="228600" lvl="1" indent="-228600" algn="l" defTabSz="933450">
            <a:lnSpc>
              <a:spcPct val="90000"/>
            </a:lnSpc>
            <a:spcBef>
              <a:spcPct val="0"/>
            </a:spcBef>
            <a:spcAft>
              <a:spcPct val="20000"/>
            </a:spcAft>
            <a:buChar char="•"/>
          </a:pPr>
          <a:r>
            <a:rPr lang="en-US" sz="2100" kern="1200" baseline="0"/>
            <a:t>Allows: building, testing, and releasing code with greater speed and frequency</a:t>
          </a:r>
          <a:endParaRPr lang="en-US" sz="2100" kern="1200"/>
        </a:p>
        <a:p>
          <a:pPr marL="228600" lvl="1" indent="-228600" algn="l" defTabSz="933450">
            <a:lnSpc>
              <a:spcPct val="90000"/>
            </a:lnSpc>
            <a:spcBef>
              <a:spcPct val="0"/>
            </a:spcBef>
            <a:spcAft>
              <a:spcPct val="20000"/>
            </a:spcAft>
            <a:buChar char="•"/>
          </a:pPr>
          <a:r>
            <a:rPr lang="en-US" sz="2100" kern="1200" baseline="0"/>
            <a:t>Reduces: cost, time, and risk of delivering changes by allowing for more incremental updates to applications/scripts</a:t>
          </a:r>
          <a:endParaRPr lang="en-US" sz="2100" kern="1200"/>
        </a:p>
      </dsp:txBody>
      <dsp:txXfrm>
        <a:off x="0" y="3445204"/>
        <a:ext cx="10880726" cy="150903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F8AA9E-1A97-4A93-B783-2494838E4AB9}">
      <dsp:nvSpPr>
        <dsp:cNvPr id="0" name=""/>
        <dsp:cNvSpPr/>
      </dsp:nvSpPr>
      <dsp:spPr>
        <a:xfrm>
          <a:off x="0" y="2000"/>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A93692-3A02-498B-B009-2E1E404EE69B}">
      <dsp:nvSpPr>
        <dsp:cNvPr id="0" name=""/>
        <dsp:cNvSpPr/>
      </dsp:nvSpPr>
      <dsp:spPr>
        <a:xfrm>
          <a:off x="306680" y="230110"/>
          <a:ext cx="557601" cy="5576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F220836-1F43-419E-B7C0-A70DF7DF3085}">
      <dsp:nvSpPr>
        <dsp:cNvPr id="0" name=""/>
        <dsp:cNvSpPr/>
      </dsp:nvSpPr>
      <dsp:spPr>
        <a:xfrm>
          <a:off x="1170963" y="2000"/>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Harness collaboration</a:t>
          </a:r>
        </a:p>
      </dsp:txBody>
      <dsp:txXfrm>
        <a:off x="1170963" y="2000"/>
        <a:ext cx="9709761" cy="1013820"/>
      </dsp:txXfrm>
    </dsp:sp>
    <dsp:sp modelId="{33CA625F-9F51-48EB-94F1-BFE84A98A5FC}">
      <dsp:nvSpPr>
        <dsp:cNvPr id="0" name=""/>
        <dsp:cNvSpPr/>
      </dsp:nvSpPr>
      <dsp:spPr>
        <a:xfrm>
          <a:off x="0" y="1269276"/>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07E4D9A-DE53-492E-A53A-2BAA710E2117}">
      <dsp:nvSpPr>
        <dsp:cNvPr id="0" name=""/>
        <dsp:cNvSpPr/>
      </dsp:nvSpPr>
      <dsp:spPr>
        <a:xfrm>
          <a:off x="306680" y="1497386"/>
          <a:ext cx="557601" cy="5576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4526B59-6A2F-492E-ABF2-BFAAD6A6AC1F}">
      <dsp:nvSpPr>
        <dsp:cNvPr id="0" name=""/>
        <dsp:cNvSpPr/>
      </dsp:nvSpPr>
      <dsp:spPr>
        <a:xfrm>
          <a:off x="1170963" y="1269276"/>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Enable parallel development</a:t>
          </a:r>
        </a:p>
      </dsp:txBody>
      <dsp:txXfrm>
        <a:off x="1170963" y="1269276"/>
        <a:ext cx="9709761" cy="1013820"/>
      </dsp:txXfrm>
    </dsp:sp>
    <dsp:sp modelId="{985C680F-F63B-442F-B42E-405458B6B051}">
      <dsp:nvSpPr>
        <dsp:cNvPr id="0" name=""/>
        <dsp:cNvSpPr/>
      </dsp:nvSpPr>
      <dsp:spPr>
        <a:xfrm>
          <a:off x="0" y="2536552"/>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98AB81D-CE0F-4224-9FDA-A321A2D3F2F2}">
      <dsp:nvSpPr>
        <dsp:cNvPr id="0" name=""/>
        <dsp:cNvSpPr/>
      </dsp:nvSpPr>
      <dsp:spPr>
        <a:xfrm>
          <a:off x="306680" y="2764662"/>
          <a:ext cx="557601" cy="5576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F5D6FC9-A498-490B-8EEA-DD03E75B02B4}">
      <dsp:nvSpPr>
        <dsp:cNvPr id="0" name=""/>
        <dsp:cNvSpPr/>
      </dsp:nvSpPr>
      <dsp:spPr>
        <a:xfrm>
          <a:off x="1170963" y="2536552"/>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Minimize integration debt</a:t>
          </a:r>
        </a:p>
      </dsp:txBody>
      <dsp:txXfrm>
        <a:off x="1170963" y="2536552"/>
        <a:ext cx="9709761" cy="1013820"/>
      </dsp:txXfrm>
    </dsp:sp>
    <dsp:sp modelId="{F815AA3D-5AE4-4747-B8DA-7E2B8BCBE81D}">
      <dsp:nvSpPr>
        <dsp:cNvPr id="0" name=""/>
        <dsp:cNvSpPr/>
      </dsp:nvSpPr>
      <dsp:spPr>
        <a:xfrm>
          <a:off x="0" y="3803828"/>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D993FEE-33D8-488A-938C-2F67796130A6}">
      <dsp:nvSpPr>
        <dsp:cNvPr id="0" name=""/>
        <dsp:cNvSpPr/>
      </dsp:nvSpPr>
      <dsp:spPr>
        <a:xfrm>
          <a:off x="306680" y="4031938"/>
          <a:ext cx="557601" cy="5576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4C3667F-2540-4B84-BF90-CC1245409C0F}">
      <dsp:nvSpPr>
        <dsp:cNvPr id="0" name=""/>
        <dsp:cNvSpPr/>
      </dsp:nvSpPr>
      <dsp:spPr>
        <a:xfrm>
          <a:off x="1170963" y="3803828"/>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Act as a quality gate</a:t>
          </a:r>
        </a:p>
      </dsp:txBody>
      <dsp:txXfrm>
        <a:off x="1170963" y="3803828"/>
        <a:ext cx="9709761" cy="10138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50CA60-3CF5-408C-AD8B-C484446CD2B8}">
      <dsp:nvSpPr>
        <dsp:cNvPr id="0" name=""/>
        <dsp:cNvSpPr/>
      </dsp:nvSpPr>
      <dsp:spPr>
        <a:xfrm>
          <a:off x="0" y="588"/>
          <a:ext cx="10880725"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D3318AA-7008-4D6A-AC5E-FF4CBD0EE59B}">
      <dsp:nvSpPr>
        <dsp:cNvPr id="0" name=""/>
        <dsp:cNvSpPr/>
      </dsp:nvSpPr>
      <dsp:spPr>
        <a:xfrm>
          <a:off x="416453" y="310347"/>
          <a:ext cx="757188" cy="7571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A6AC8F3-D8A4-4BE2-9AB0-80F6410602B8}">
      <dsp:nvSpPr>
        <dsp:cNvPr id="0" name=""/>
        <dsp:cNvSpPr/>
      </dsp:nvSpPr>
      <dsp:spPr>
        <a:xfrm>
          <a:off x="1590096" y="588"/>
          <a:ext cx="9290628"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90000"/>
            </a:lnSpc>
            <a:spcBef>
              <a:spcPct val="0"/>
            </a:spcBef>
            <a:spcAft>
              <a:spcPct val="35000"/>
            </a:spcAft>
            <a:buNone/>
          </a:pPr>
          <a:r>
            <a:rPr lang="en-US" sz="2500" kern="1200" baseline="0"/>
            <a:t>Retains each version by tracking ALL changes</a:t>
          </a:r>
          <a:endParaRPr lang="en-US" sz="2500" kern="1200"/>
        </a:p>
      </dsp:txBody>
      <dsp:txXfrm>
        <a:off x="1590096" y="588"/>
        <a:ext cx="9290628" cy="1376706"/>
      </dsp:txXfrm>
    </dsp:sp>
    <dsp:sp modelId="{EE10086C-8167-43A2-9714-7DC34630140C}">
      <dsp:nvSpPr>
        <dsp:cNvPr id="0" name=""/>
        <dsp:cNvSpPr/>
      </dsp:nvSpPr>
      <dsp:spPr>
        <a:xfrm>
          <a:off x="0" y="1721471"/>
          <a:ext cx="10880725"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B7A885-66B0-41F8-94E7-8D0F721D7E53}">
      <dsp:nvSpPr>
        <dsp:cNvPr id="0" name=""/>
        <dsp:cNvSpPr/>
      </dsp:nvSpPr>
      <dsp:spPr>
        <a:xfrm>
          <a:off x="416453" y="2031230"/>
          <a:ext cx="757188" cy="7571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F109E04-FE43-43D4-AEA5-5AC0D17154AE}">
      <dsp:nvSpPr>
        <dsp:cNvPr id="0" name=""/>
        <dsp:cNvSpPr/>
      </dsp:nvSpPr>
      <dsp:spPr>
        <a:xfrm>
          <a:off x="1590096" y="1721471"/>
          <a:ext cx="9290628"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90000"/>
            </a:lnSpc>
            <a:spcBef>
              <a:spcPct val="0"/>
            </a:spcBef>
            <a:spcAft>
              <a:spcPct val="35000"/>
            </a:spcAft>
            <a:buNone/>
          </a:pPr>
          <a:r>
            <a:rPr lang="en-US" sz="2500" kern="1200" baseline="0"/>
            <a:t>Displays exact changes</a:t>
          </a:r>
          <a:endParaRPr lang="en-US" sz="2500" kern="1200"/>
        </a:p>
      </dsp:txBody>
      <dsp:txXfrm>
        <a:off x="1590096" y="1721471"/>
        <a:ext cx="9290628" cy="1376706"/>
      </dsp:txXfrm>
    </dsp:sp>
    <dsp:sp modelId="{27C6F1DC-FA98-4AF9-B8E4-5D23CA1FC499}">
      <dsp:nvSpPr>
        <dsp:cNvPr id="0" name=""/>
        <dsp:cNvSpPr/>
      </dsp:nvSpPr>
      <dsp:spPr>
        <a:xfrm>
          <a:off x="0" y="3442354"/>
          <a:ext cx="10880725"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6764867-D8A9-4240-B23C-50DF6B79524B}">
      <dsp:nvSpPr>
        <dsp:cNvPr id="0" name=""/>
        <dsp:cNvSpPr/>
      </dsp:nvSpPr>
      <dsp:spPr>
        <a:xfrm>
          <a:off x="416453" y="3752113"/>
          <a:ext cx="757188" cy="7571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E643B9A-8C91-451D-85C4-CD6A09477C02}">
      <dsp:nvSpPr>
        <dsp:cNvPr id="0" name=""/>
        <dsp:cNvSpPr/>
      </dsp:nvSpPr>
      <dsp:spPr>
        <a:xfrm>
          <a:off x="1590096" y="3442354"/>
          <a:ext cx="9290628"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90000"/>
            </a:lnSpc>
            <a:spcBef>
              <a:spcPct val="0"/>
            </a:spcBef>
            <a:spcAft>
              <a:spcPct val="35000"/>
            </a:spcAft>
            <a:buNone/>
          </a:pPr>
          <a:r>
            <a:rPr lang="en-US" sz="2500" kern="1200" baseline="0"/>
            <a:t>Undo is holistic and reverts</a:t>
          </a:r>
          <a:endParaRPr lang="en-US" sz="2500" kern="1200"/>
        </a:p>
      </dsp:txBody>
      <dsp:txXfrm>
        <a:off x="1590096" y="3442354"/>
        <a:ext cx="9290628" cy="137670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104C5C-3F9B-400A-B186-47369747A778}">
      <dsp:nvSpPr>
        <dsp:cNvPr id="0" name=""/>
        <dsp:cNvSpPr/>
      </dsp:nvSpPr>
      <dsp:spPr>
        <a:xfrm>
          <a:off x="274235"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2DD82FE7-9410-48DD-902E-714D5B51B542}">
      <dsp:nvSpPr>
        <dsp:cNvPr id="0" name=""/>
        <dsp:cNvSpPr/>
      </dsp:nvSpPr>
      <dsp:spPr>
        <a:xfrm>
          <a:off x="561486" y="919542"/>
          <a:ext cx="793360" cy="79336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B39BA93B-A292-40BE-8D07-1333CA3CDC54}">
      <dsp:nvSpPr>
        <dsp:cNvPr id="0" name=""/>
        <dsp:cNvSpPr/>
      </dsp:nvSpPr>
      <dsp:spPr>
        <a:xfrm>
          <a:off x="1935212"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A Git repository is created by using git init</a:t>
          </a:r>
        </a:p>
      </dsp:txBody>
      <dsp:txXfrm>
        <a:off x="1935212" y="632291"/>
        <a:ext cx="3224249" cy="1367863"/>
      </dsp:txXfrm>
    </dsp:sp>
    <dsp:sp modelId="{68EE4D5E-6996-47D9-870F-064D7903D211}">
      <dsp:nvSpPr>
        <dsp:cNvPr id="0" name=""/>
        <dsp:cNvSpPr/>
      </dsp:nvSpPr>
      <dsp:spPr>
        <a:xfrm>
          <a:off x="5721263"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00FB9E03-D519-4FE5-ABA9-4693974A32AF}">
      <dsp:nvSpPr>
        <dsp:cNvPr id="0" name=""/>
        <dsp:cNvSpPr/>
      </dsp:nvSpPr>
      <dsp:spPr>
        <a:xfrm>
          <a:off x="6008514" y="919542"/>
          <a:ext cx="793360" cy="79336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51590E78-F1DD-403D-BF6C-27951A3B6EAB}">
      <dsp:nvSpPr>
        <dsp:cNvPr id="0" name=""/>
        <dsp:cNvSpPr/>
      </dsp:nvSpPr>
      <dsp:spPr>
        <a:xfrm>
          <a:off x="7382240"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Git creates a .git folder</a:t>
          </a:r>
        </a:p>
      </dsp:txBody>
      <dsp:txXfrm>
        <a:off x="7382240" y="632291"/>
        <a:ext cx="3224249" cy="1367863"/>
      </dsp:txXfrm>
    </dsp:sp>
    <dsp:sp modelId="{EE77CAB7-3F2F-451E-8617-57F5DE15BBB5}">
      <dsp:nvSpPr>
        <dsp:cNvPr id="0" name=""/>
        <dsp:cNvSpPr/>
      </dsp:nvSpPr>
      <dsp:spPr>
        <a:xfrm>
          <a:off x="274235"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A295EE75-4149-48E9-AA64-D65F5D13115A}">
      <dsp:nvSpPr>
        <dsp:cNvPr id="0" name=""/>
        <dsp:cNvSpPr/>
      </dsp:nvSpPr>
      <dsp:spPr>
        <a:xfrm>
          <a:off x="561486" y="3106746"/>
          <a:ext cx="793360" cy="79336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A27F5571-84D7-46B0-8CAA-540FD404FDE5}">
      <dsp:nvSpPr>
        <dsp:cNvPr id="0" name=""/>
        <dsp:cNvSpPr/>
      </dsp:nvSpPr>
      <dsp:spPr>
        <a:xfrm>
          <a:off x="1935212"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git folder contains information needed for Git to function</a:t>
          </a:r>
        </a:p>
      </dsp:txBody>
      <dsp:txXfrm>
        <a:off x="1935212" y="2819495"/>
        <a:ext cx="3224249" cy="1367863"/>
      </dsp:txXfrm>
    </dsp:sp>
    <dsp:sp modelId="{A4FDDF58-A836-476B-AC40-2D4F94D9382E}">
      <dsp:nvSpPr>
        <dsp:cNvPr id="0" name=""/>
        <dsp:cNvSpPr/>
      </dsp:nvSpPr>
      <dsp:spPr>
        <a:xfrm>
          <a:off x="5721263"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F5EE4DD4-FA7C-4889-9803-843F33B27BA5}">
      <dsp:nvSpPr>
        <dsp:cNvPr id="0" name=""/>
        <dsp:cNvSpPr/>
      </dsp:nvSpPr>
      <dsp:spPr>
        <a:xfrm>
          <a:off x="6008514" y="3106746"/>
          <a:ext cx="793360" cy="79336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73C45806-5FF8-4912-AC6F-C6939E9B546A}">
      <dsp:nvSpPr>
        <dsp:cNvPr id="0" name=""/>
        <dsp:cNvSpPr/>
      </dsp:nvSpPr>
      <dsp:spPr>
        <a:xfrm>
          <a:off x="7382240"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To remove Git, remove the .git folder and retain all project files</a:t>
          </a:r>
        </a:p>
      </dsp:txBody>
      <dsp:txXfrm>
        <a:off x="7382240" y="2819495"/>
        <a:ext cx="3224249" cy="136786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82616B-A82E-474A-BEAD-C7E94A589992}">
      <dsp:nvSpPr>
        <dsp:cNvPr id="0" name=""/>
        <dsp:cNvSpPr/>
      </dsp:nvSpPr>
      <dsp:spPr>
        <a:xfrm>
          <a:off x="525849" y="1496794"/>
          <a:ext cx="2089014" cy="1826061"/>
        </a:xfrm>
        <a:prstGeom prst="rightArrow">
          <a:avLst>
            <a:gd name="adj1" fmla="val 70000"/>
            <a:gd name="adj2" fmla="val 50000"/>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15240" rIns="30480" bIns="15240" numCol="1" spcCol="1270" anchor="ctr" anchorCtr="0">
          <a:noAutofit/>
        </a:bodyPr>
        <a:lstStyle/>
        <a:p>
          <a:pPr marL="0" lvl="0" indent="0" algn="ctr" defTabSz="1066800">
            <a:lnSpc>
              <a:spcPct val="90000"/>
            </a:lnSpc>
            <a:spcBef>
              <a:spcPct val="0"/>
            </a:spcBef>
            <a:spcAft>
              <a:spcPct val="35000"/>
            </a:spcAft>
            <a:buNone/>
          </a:pPr>
          <a:r>
            <a:rPr lang="en-US" sz="2400" b="0" kern="1200" dirty="0"/>
            <a:t>git add</a:t>
          </a:r>
        </a:p>
      </dsp:txBody>
      <dsp:txXfrm>
        <a:off x="1048103" y="1770703"/>
        <a:ext cx="1018394" cy="1278243"/>
      </dsp:txXfrm>
    </dsp:sp>
    <dsp:sp modelId="{E1D442E6-50DE-42B6-B90C-5C2C51011D23}">
      <dsp:nvSpPr>
        <dsp:cNvPr id="0" name=""/>
        <dsp:cNvSpPr/>
      </dsp:nvSpPr>
      <dsp:spPr>
        <a:xfrm>
          <a:off x="3595" y="1887571"/>
          <a:ext cx="1044507" cy="1044507"/>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0" kern="1200" dirty="0"/>
            <a:t>Working directory</a:t>
          </a:r>
          <a:endParaRPr lang="en-US" sz="1400" b="0" i="0" u="none" strike="noStrike" kern="1200" cap="none" baseline="0" noProof="0" dirty="0">
            <a:solidFill>
              <a:srgbClr val="010000"/>
            </a:solidFill>
            <a:latin typeface="Segoe UI Semibold"/>
            <a:cs typeface="Segoe UI Semibold"/>
          </a:endParaRPr>
        </a:p>
      </dsp:txBody>
      <dsp:txXfrm>
        <a:off x="156560" y="2040536"/>
        <a:ext cx="738577" cy="738577"/>
      </dsp:txXfrm>
    </dsp:sp>
    <dsp:sp modelId="{10DD6BAD-64EC-4FED-A093-E47B3435FEB8}">
      <dsp:nvSpPr>
        <dsp:cNvPr id="0" name=""/>
        <dsp:cNvSpPr/>
      </dsp:nvSpPr>
      <dsp:spPr>
        <a:xfrm>
          <a:off x="3267680" y="1496794"/>
          <a:ext cx="2089014" cy="1826061"/>
        </a:xfrm>
        <a:prstGeom prst="rightArrow">
          <a:avLst>
            <a:gd name="adj1" fmla="val 70000"/>
            <a:gd name="adj2" fmla="val 50000"/>
          </a:avLst>
        </a:prstGeom>
        <a:solidFill>
          <a:schemeClr val="accent5">
            <a:tint val="40000"/>
            <a:alpha val="90000"/>
            <a:hueOff val="-5142056"/>
            <a:satOff val="-12013"/>
            <a:lumOff val="2100"/>
            <a:alphaOff val="0"/>
          </a:schemeClr>
        </a:solidFill>
        <a:ln w="12700" cap="flat" cmpd="sng" algn="ctr">
          <a:solidFill>
            <a:schemeClr val="accent5">
              <a:tint val="40000"/>
              <a:alpha val="90000"/>
              <a:hueOff val="-5142056"/>
              <a:satOff val="-12013"/>
              <a:lumOff val="210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0640" tIns="10160" rIns="2032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t>git commit</a:t>
          </a:r>
        </a:p>
      </dsp:txBody>
      <dsp:txXfrm>
        <a:off x="3789934" y="1770703"/>
        <a:ext cx="1018394" cy="1278243"/>
      </dsp:txXfrm>
    </dsp:sp>
    <dsp:sp modelId="{CDB9AC5A-1499-44E3-9A89-B7F7D8C924C1}">
      <dsp:nvSpPr>
        <dsp:cNvPr id="0" name=""/>
        <dsp:cNvSpPr/>
      </dsp:nvSpPr>
      <dsp:spPr>
        <a:xfrm>
          <a:off x="2745427" y="1887571"/>
          <a:ext cx="1044507" cy="1044507"/>
        </a:xfrm>
        <a:prstGeom prst="ellipse">
          <a:avLst/>
        </a:prstGeom>
        <a:solidFill>
          <a:schemeClr val="accent5">
            <a:hueOff val="-5244003"/>
            <a:satOff val="-15432"/>
            <a:lumOff val="8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0" kern="1200" dirty="0"/>
            <a:t>Index/ staging</a:t>
          </a:r>
        </a:p>
      </dsp:txBody>
      <dsp:txXfrm>
        <a:off x="2898392" y="2040536"/>
        <a:ext cx="738577" cy="738577"/>
      </dsp:txXfrm>
    </dsp:sp>
    <dsp:sp modelId="{E387BFBC-C63C-4A0A-83FF-5C6BD40FE0AD}">
      <dsp:nvSpPr>
        <dsp:cNvPr id="0" name=""/>
        <dsp:cNvSpPr/>
      </dsp:nvSpPr>
      <dsp:spPr>
        <a:xfrm>
          <a:off x="6009511" y="1496794"/>
          <a:ext cx="2089014" cy="1826061"/>
        </a:xfrm>
        <a:prstGeom prst="rightArrow">
          <a:avLst>
            <a:gd name="adj1" fmla="val 70000"/>
            <a:gd name="adj2" fmla="val 50000"/>
          </a:avLst>
        </a:prstGeom>
        <a:solidFill>
          <a:schemeClr val="accent5">
            <a:tint val="40000"/>
            <a:alpha val="90000"/>
            <a:hueOff val="-10284111"/>
            <a:satOff val="-24026"/>
            <a:lumOff val="4201"/>
            <a:alphaOff val="0"/>
          </a:schemeClr>
        </a:solidFill>
        <a:ln w="12700" cap="flat" cmpd="sng" algn="ctr">
          <a:solidFill>
            <a:schemeClr val="accent5">
              <a:tint val="40000"/>
              <a:alpha val="90000"/>
              <a:hueOff val="-10284111"/>
              <a:satOff val="-24026"/>
              <a:lumOff val="420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800" tIns="12700" rIns="25400" bIns="12700" numCol="1" spcCol="1270" anchor="ctr" anchorCtr="0">
          <a:noAutofit/>
        </a:bodyPr>
        <a:lstStyle/>
        <a:p>
          <a:pPr marL="0" lvl="0" indent="0" algn="ctr" defTabSz="889000">
            <a:lnSpc>
              <a:spcPct val="90000"/>
            </a:lnSpc>
            <a:spcBef>
              <a:spcPct val="0"/>
            </a:spcBef>
            <a:spcAft>
              <a:spcPct val="35000"/>
            </a:spcAft>
            <a:buNone/>
          </a:pPr>
          <a:r>
            <a:rPr lang="en-US" sz="2000" b="0" kern="1200" dirty="0"/>
            <a:t>git push</a:t>
          </a:r>
        </a:p>
      </dsp:txBody>
      <dsp:txXfrm>
        <a:off x="6531765" y="1770703"/>
        <a:ext cx="1018394" cy="1278243"/>
      </dsp:txXfrm>
    </dsp:sp>
    <dsp:sp modelId="{4C1F17AB-C49A-4053-9EDC-615D8389E1F5}">
      <dsp:nvSpPr>
        <dsp:cNvPr id="0" name=""/>
        <dsp:cNvSpPr/>
      </dsp:nvSpPr>
      <dsp:spPr>
        <a:xfrm>
          <a:off x="5487258" y="1887571"/>
          <a:ext cx="1044507" cy="1044507"/>
        </a:xfrm>
        <a:prstGeom prst="ellipse">
          <a:avLst/>
        </a:prstGeom>
        <a:solidFill>
          <a:schemeClr val="accent5">
            <a:hueOff val="-10488007"/>
            <a:satOff val="-30864"/>
            <a:lumOff val="16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0" kern="1200" dirty="0"/>
            <a:t>HEAD</a:t>
          </a:r>
        </a:p>
      </dsp:txBody>
      <dsp:txXfrm>
        <a:off x="5640223" y="2040536"/>
        <a:ext cx="738577" cy="738577"/>
      </dsp:txXfrm>
    </dsp:sp>
    <dsp:sp modelId="{F8A5E368-4C95-4EC5-860C-BBD97D923610}">
      <dsp:nvSpPr>
        <dsp:cNvPr id="0" name=""/>
        <dsp:cNvSpPr/>
      </dsp:nvSpPr>
      <dsp:spPr>
        <a:xfrm>
          <a:off x="8788114" y="1496794"/>
          <a:ext cx="2089014" cy="1826061"/>
        </a:xfrm>
        <a:prstGeom prst="rightArrow">
          <a:avLst>
            <a:gd name="adj1" fmla="val 70000"/>
            <a:gd name="adj2" fmla="val 50000"/>
          </a:avLst>
        </a:prstGeom>
        <a:solidFill>
          <a:schemeClr val="accent5">
            <a:tint val="40000"/>
            <a:alpha val="90000"/>
            <a:hueOff val="-15426167"/>
            <a:satOff val="-36039"/>
            <a:lumOff val="6301"/>
            <a:alphaOff val="0"/>
          </a:schemeClr>
        </a:solidFill>
        <a:ln w="12700" cap="flat" cmpd="sng" algn="ctr">
          <a:solidFill>
            <a:schemeClr val="accent5">
              <a:tint val="40000"/>
              <a:alpha val="90000"/>
              <a:hueOff val="-15426167"/>
              <a:satOff val="-36039"/>
              <a:lumOff val="630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0640" tIns="10160" rIns="2032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t>git remote add origin </a:t>
          </a:r>
          <a:r>
            <a:rPr lang="en-US" sz="1600" b="0" kern="1200" dirty="0" err="1"/>
            <a:t>ssh_url</a:t>
          </a:r>
          <a:endParaRPr lang="en-US" sz="1600" b="0" kern="1200" dirty="0"/>
        </a:p>
      </dsp:txBody>
      <dsp:txXfrm>
        <a:off x="9310368" y="1770703"/>
        <a:ext cx="1018394" cy="1278243"/>
      </dsp:txXfrm>
    </dsp:sp>
    <dsp:sp modelId="{5C44622F-2F88-4BA9-9BB1-D6951CE35127}">
      <dsp:nvSpPr>
        <dsp:cNvPr id="0" name=""/>
        <dsp:cNvSpPr/>
      </dsp:nvSpPr>
      <dsp:spPr>
        <a:xfrm>
          <a:off x="8229089" y="1887571"/>
          <a:ext cx="1118050" cy="1044507"/>
        </a:xfrm>
        <a:prstGeom prst="ellipse">
          <a:avLst/>
        </a:prstGeom>
        <a:solidFill>
          <a:schemeClr val="accent5">
            <a:hueOff val="-15732010"/>
            <a:satOff val="-46296"/>
            <a:lumOff val="2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0" kern="1200" dirty="0"/>
            <a:t>GitHub</a:t>
          </a:r>
        </a:p>
      </dsp:txBody>
      <dsp:txXfrm>
        <a:off x="8392824" y="2040536"/>
        <a:ext cx="790580" cy="73857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C693E2-3110-4855-8EE9-E66F1E233C20}">
      <dsp:nvSpPr>
        <dsp:cNvPr id="0" name=""/>
        <dsp:cNvSpPr/>
      </dsp:nvSpPr>
      <dsp:spPr>
        <a:xfrm>
          <a:off x="0" y="2000"/>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85725B-FCD5-46E6-854E-B057DAA3DF04}">
      <dsp:nvSpPr>
        <dsp:cNvPr id="0" name=""/>
        <dsp:cNvSpPr/>
      </dsp:nvSpPr>
      <dsp:spPr>
        <a:xfrm>
          <a:off x="306680" y="230110"/>
          <a:ext cx="557601" cy="5576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0365817-AC47-4315-A8D0-15DBBF0FB1DD}">
      <dsp:nvSpPr>
        <dsp:cNvPr id="0" name=""/>
        <dsp:cNvSpPr/>
      </dsp:nvSpPr>
      <dsp:spPr>
        <a:xfrm>
          <a:off x="1170963" y="2000"/>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Can be either hosted online or local (GitHub, GitHub Enterprise)</a:t>
          </a:r>
        </a:p>
      </dsp:txBody>
      <dsp:txXfrm>
        <a:off x="1170963" y="2000"/>
        <a:ext cx="9709761" cy="1013820"/>
      </dsp:txXfrm>
    </dsp:sp>
    <dsp:sp modelId="{5239E68A-B36B-476B-92AA-97944AD35F97}">
      <dsp:nvSpPr>
        <dsp:cNvPr id="0" name=""/>
        <dsp:cNvSpPr/>
      </dsp:nvSpPr>
      <dsp:spPr>
        <a:xfrm>
          <a:off x="0" y="1269276"/>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62714A-43B9-44F6-BE34-B059FE4B5A44}">
      <dsp:nvSpPr>
        <dsp:cNvPr id="0" name=""/>
        <dsp:cNvSpPr/>
      </dsp:nvSpPr>
      <dsp:spPr>
        <a:xfrm>
          <a:off x="306680" y="1497386"/>
          <a:ext cx="557601" cy="5576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91F9D8D-B710-46A1-B96D-564AF93FA67E}">
      <dsp:nvSpPr>
        <dsp:cNvPr id="0" name=""/>
        <dsp:cNvSpPr/>
      </dsp:nvSpPr>
      <dsp:spPr>
        <a:xfrm>
          <a:off x="1170963" y="1269276"/>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Represents the main project</a:t>
          </a:r>
        </a:p>
      </dsp:txBody>
      <dsp:txXfrm>
        <a:off x="1170963" y="1269276"/>
        <a:ext cx="9709761" cy="1013820"/>
      </dsp:txXfrm>
    </dsp:sp>
    <dsp:sp modelId="{BCFABE3B-A32B-428D-B324-E4E1052F855C}">
      <dsp:nvSpPr>
        <dsp:cNvPr id="0" name=""/>
        <dsp:cNvSpPr/>
      </dsp:nvSpPr>
      <dsp:spPr>
        <a:xfrm>
          <a:off x="0" y="2536552"/>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3015CC-6270-4A34-BB6A-AE213D570A48}">
      <dsp:nvSpPr>
        <dsp:cNvPr id="0" name=""/>
        <dsp:cNvSpPr/>
      </dsp:nvSpPr>
      <dsp:spPr>
        <a:xfrm>
          <a:off x="306680" y="2764662"/>
          <a:ext cx="557601" cy="5576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F6C3A86-4641-4818-9D63-71DB1DC087DA}">
      <dsp:nvSpPr>
        <dsp:cNvPr id="0" name=""/>
        <dsp:cNvSpPr/>
      </dsp:nvSpPr>
      <dsp:spPr>
        <a:xfrm>
          <a:off x="1170963" y="2536552"/>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Contains: files, commits, branches, and history for the entire project</a:t>
          </a:r>
        </a:p>
      </dsp:txBody>
      <dsp:txXfrm>
        <a:off x="1170963" y="2536552"/>
        <a:ext cx="9709761" cy="1013820"/>
      </dsp:txXfrm>
    </dsp:sp>
    <dsp:sp modelId="{105B2545-8AC3-433D-BDE1-6E6FFA9E49E4}">
      <dsp:nvSpPr>
        <dsp:cNvPr id="0" name=""/>
        <dsp:cNvSpPr/>
      </dsp:nvSpPr>
      <dsp:spPr>
        <a:xfrm>
          <a:off x="0" y="3803828"/>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06DBA74-1497-4A53-B8A8-47309FF99FB9}">
      <dsp:nvSpPr>
        <dsp:cNvPr id="0" name=""/>
        <dsp:cNvSpPr/>
      </dsp:nvSpPr>
      <dsp:spPr>
        <a:xfrm>
          <a:off x="306680" y="4031938"/>
          <a:ext cx="557601" cy="5576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4E074FD-3198-4894-8E0B-D759AC8BB666}">
      <dsp:nvSpPr>
        <dsp:cNvPr id="0" name=""/>
        <dsp:cNvSpPr/>
      </dsp:nvSpPr>
      <dsp:spPr>
        <a:xfrm>
          <a:off x="1170963" y="3803828"/>
          <a:ext cx="4896326"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Best practices: </a:t>
          </a:r>
        </a:p>
      </dsp:txBody>
      <dsp:txXfrm>
        <a:off x="1170963" y="3803828"/>
        <a:ext cx="4896326" cy="1013820"/>
      </dsp:txXfrm>
    </dsp:sp>
    <dsp:sp modelId="{B7648562-62EA-4B2B-BD90-FDBB5F7206C8}">
      <dsp:nvSpPr>
        <dsp:cNvPr id="0" name=""/>
        <dsp:cNvSpPr/>
      </dsp:nvSpPr>
      <dsp:spPr>
        <a:xfrm>
          <a:off x="3230539" y="3803828"/>
          <a:ext cx="4813435"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577850">
            <a:lnSpc>
              <a:spcPct val="90000"/>
            </a:lnSpc>
            <a:spcBef>
              <a:spcPct val="0"/>
            </a:spcBef>
            <a:spcAft>
              <a:spcPct val="35000"/>
            </a:spcAft>
            <a:buFontTx/>
            <a:buNone/>
          </a:pPr>
          <a:r>
            <a:rPr lang="en-US" sz="1300" kern="1200"/>
            <a:t>Maintain a single source repository </a:t>
          </a:r>
        </a:p>
        <a:p>
          <a:pPr marL="0" lvl="0" indent="0" algn="l" defTabSz="577850">
            <a:lnSpc>
              <a:spcPct val="90000"/>
            </a:lnSpc>
            <a:spcBef>
              <a:spcPct val="0"/>
            </a:spcBef>
            <a:spcAft>
              <a:spcPct val="35000"/>
            </a:spcAft>
            <a:buFontTx/>
            <a:buNone/>
          </a:pPr>
          <a:r>
            <a:rPr lang="en-US" sz="1300" kern="1200"/>
            <a:t>Place all needed content for a project in a single repository</a:t>
          </a:r>
        </a:p>
        <a:p>
          <a:pPr marL="0" lvl="0" indent="0" algn="l" defTabSz="577850">
            <a:lnSpc>
              <a:spcPct val="90000"/>
            </a:lnSpc>
            <a:spcBef>
              <a:spcPct val="0"/>
            </a:spcBef>
            <a:spcAft>
              <a:spcPct val="35000"/>
            </a:spcAft>
            <a:buFontTx/>
            <a:buNone/>
          </a:pPr>
          <a:r>
            <a:rPr lang="en-US" sz="1300" kern="1200"/>
            <a:t>Minimize branches</a:t>
          </a:r>
        </a:p>
      </dsp:txBody>
      <dsp:txXfrm>
        <a:off x="3230539" y="3803828"/>
        <a:ext cx="4813435" cy="10138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A3C455-0C51-4FA5-8833-BD397111587A}">
      <dsp:nvSpPr>
        <dsp:cNvPr id="0" name=""/>
        <dsp:cNvSpPr/>
      </dsp:nvSpPr>
      <dsp:spPr>
        <a:xfrm>
          <a:off x="9563" y="584597"/>
          <a:ext cx="2858315" cy="171498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Create </a:t>
          </a:r>
          <a:r>
            <a:rPr lang="en-US" sz="3300" kern="1200">
              <a:latin typeface="Segoe UI Semibold"/>
            </a:rPr>
            <a:t>New</a:t>
          </a:r>
          <a:r>
            <a:rPr lang="en-US" sz="3300" kern="1200"/>
            <a:t> </a:t>
          </a:r>
          <a:r>
            <a:rPr lang="en-US" sz="3300" kern="1200">
              <a:latin typeface="Segoe UI Semibold"/>
            </a:rPr>
            <a:t>File</a:t>
          </a:r>
          <a:r>
            <a:rPr lang="en-US" sz="3300" kern="1200"/>
            <a:t>(s)</a:t>
          </a:r>
        </a:p>
      </dsp:txBody>
      <dsp:txXfrm>
        <a:off x="59793" y="634827"/>
        <a:ext cx="2757855" cy="1614529"/>
      </dsp:txXfrm>
    </dsp:sp>
    <dsp:sp modelId="{40913C26-632B-4A25-981B-387191125A46}">
      <dsp:nvSpPr>
        <dsp:cNvPr id="0" name=""/>
        <dsp:cNvSpPr/>
      </dsp:nvSpPr>
      <dsp:spPr>
        <a:xfrm>
          <a:off x="3153710" y="1087660"/>
          <a:ext cx="605962" cy="708862"/>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endParaRPr lang="en-US" sz="2700" kern="1200"/>
        </a:p>
      </dsp:txBody>
      <dsp:txXfrm>
        <a:off x="3153710" y="1229432"/>
        <a:ext cx="424173" cy="425318"/>
      </dsp:txXfrm>
    </dsp:sp>
    <dsp:sp modelId="{CC40913B-418D-45F5-AE88-A3B036D2545E}">
      <dsp:nvSpPr>
        <dsp:cNvPr id="0" name=""/>
        <dsp:cNvSpPr/>
      </dsp:nvSpPr>
      <dsp:spPr>
        <a:xfrm>
          <a:off x="4011205" y="584597"/>
          <a:ext cx="2858315" cy="171498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rtl="0">
            <a:lnSpc>
              <a:spcPct val="90000"/>
            </a:lnSpc>
            <a:spcBef>
              <a:spcPct val="0"/>
            </a:spcBef>
            <a:spcAft>
              <a:spcPct val="35000"/>
            </a:spcAft>
            <a:buNone/>
          </a:pPr>
          <a:r>
            <a:rPr lang="en-US" sz="3300" kern="1200"/>
            <a:t>Add to </a:t>
          </a:r>
          <a:r>
            <a:rPr lang="en-US" sz="3300" kern="1200">
              <a:latin typeface="Segoe UI Semibold"/>
            </a:rPr>
            <a:t>Staging Area</a:t>
          </a:r>
          <a:endParaRPr lang="en-US" sz="3300" kern="1200"/>
        </a:p>
      </dsp:txBody>
      <dsp:txXfrm>
        <a:off x="4061435" y="634827"/>
        <a:ext cx="2757855" cy="1614529"/>
      </dsp:txXfrm>
    </dsp:sp>
    <dsp:sp modelId="{8B255428-0C07-474A-A566-F4F096D1CB3D}">
      <dsp:nvSpPr>
        <dsp:cNvPr id="0" name=""/>
        <dsp:cNvSpPr/>
      </dsp:nvSpPr>
      <dsp:spPr>
        <a:xfrm rot="46046">
          <a:off x="7157715" y="1114757"/>
          <a:ext cx="611086" cy="708862"/>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endParaRPr lang="en-US" sz="2700" kern="1200"/>
        </a:p>
      </dsp:txBody>
      <dsp:txXfrm>
        <a:off x="7157723" y="1255301"/>
        <a:ext cx="427760" cy="425318"/>
      </dsp:txXfrm>
    </dsp:sp>
    <dsp:sp modelId="{D8EA56C5-56B4-465D-A56A-5924490CF1FD}">
      <dsp:nvSpPr>
        <dsp:cNvPr id="0" name=""/>
        <dsp:cNvSpPr/>
      </dsp:nvSpPr>
      <dsp:spPr>
        <a:xfrm>
          <a:off x="8022410" y="638327"/>
          <a:ext cx="2858315" cy="171498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Commit </a:t>
          </a:r>
          <a:r>
            <a:rPr lang="en-US" sz="3300" kern="1200">
              <a:latin typeface="Segoe UI Semibold"/>
            </a:rPr>
            <a:t>File</a:t>
          </a:r>
          <a:r>
            <a:rPr lang="en-US" sz="3300" kern="1200"/>
            <a:t>(s)</a:t>
          </a:r>
        </a:p>
      </dsp:txBody>
      <dsp:txXfrm>
        <a:off x="8072640" y="688557"/>
        <a:ext cx="2757855" cy="161452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7.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8.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5"/>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95D4D88-BF28-4553-8204-4C69621EE518}" type="datetime8">
              <a:rPr lang="en-US">
                <a:latin typeface="Segoe UI" pitchFamily="34" charset="0"/>
              </a:rPr>
              <a:t>3/2/2020 1:53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5"/>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685800" y="887413"/>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2DDAC8-B1B1-4B51-A64A-CC46804BBF34}"/>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E4E40E-7528-461C-B8DF-26C40931DF5C}" type="datetimeFigureOut">
              <a:rPr lang="en-US"/>
              <a:t>3/2/2020</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ftr="0"/>
  <p:notesStyle>
    <a:lvl1pPr marL="0" algn="l" defTabSz="914460" rtl="0" eaLnBrk="1" latinLnBrk="0" hangingPunct="1">
      <a:lnSpc>
        <a:spcPct val="100000"/>
      </a:lnSpc>
      <a:spcAft>
        <a:spcPts val="0"/>
      </a:spcAft>
      <a:defRPr sz="1000" kern="1200">
        <a:solidFill>
          <a:schemeClr val="tx1"/>
        </a:solidFill>
        <a:latin typeface="Segoe UI Light" pitchFamily="34" charset="0"/>
        <a:ea typeface="+mn-ea"/>
        <a:cs typeface="+mn-cs"/>
      </a:defRPr>
    </a:lvl1pPr>
    <a:lvl2pPr marL="213004" indent="-105840"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2pPr>
    <a:lvl3pPr marL="328105" indent="-115102"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3pPr>
    <a:lvl4pPr marL="482897" indent="-146853"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4pPr>
    <a:lvl5pPr marL="615197" indent="-115102"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5pPr>
    <a:lvl6pPr marL="2286152" algn="l" defTabSz="914460" rtl="0" eaLnBrk="1" latinLnBrk="0" hangingPunct="1">
      <a:defRPr sz="1176" kern="1200">
        <a:solidFill>
          <a:schemeClr val="tx1"/>
        </a:solidFill>
        <a:latin typeface="+mn-lt"/>
        <a:ea typeface="+mn-ea"/>
        <a:cs typeface="+mn-cs"/>
      </a:defRPr>
    </a:lvl6pPr>
    <a:lvl7pPr marL="2743381" algn="l" defTabSz="914460" rtl="0" eaLnBrk="1" latinLnBrk="0" hangingPunct="1">
      <a:defRPr sz="1176" kern="1200">
        <a:solidFill>
          <a:schemeClr val="tx1"/>
        </a:solidFill>
        <a:latin typeface="+mn-lt"/>
        <a:ea typeface="+mn-ea"/>
        <a:cs typeface="+mn-cs"/>
      </a:defRPr>
    </a:lvl7pPr>
    <a:lvl8pPr marL="3200611" algn="l" defTabSz="914460" rtl="0" eaLnBrk="1" latinLnBrk="0" hangingPunct="1">
      <a:defRPr sz="1176" kern="1200">
        <a:solidFill>
          <a:schemeClr val="tx1"/>
        </a:solidFill>
        <a:latin typeface="+mn-lt"/>
        <a:ea typeface="+mn-ea"/>
        <a:cs typeface="+mn-cs"/>
      </a:defRPr>
    </a:lvl8pPr>
    <a:lvl9pPr marL="3657842" algn="l" defTabSz="914460"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xkcd.com/1597/"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git-scm.com/docs/gitrepository-layout"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git-scm.com/book/en/v2/Getting-Started-Git-Basic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martinfowler.com/articles/continuousIntegration.html"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en.wikipedia.org/wiki/Continuous_delivery"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git-scm.com/"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1</a:t>
            </a:fld>
            <a:endParaRPr lang="en-US" sz="100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3/2/2020 1:53 PM</a:t>
            </a:fld>
            <a:endParaRPr lang="en-US" sz="100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a:p>
        </p:txBody>
      </p:sp>
    </p:spTree>
    <p:extLst>
      <p:ext uri="{BB962C8B-B14F-4D97-AF65-F5344CB8AC3E}">
        <p14:creationId xmlns:p14="http://schemas.microsoft.com/office/powerpoint/2010/main" val="2525532100"/>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Reference: </a:t>
            </a:r>
            <a:r>
              <a:rPr lang="en-US" dirty="0">
                <a:hlinkClick r:id="rId3"/>
              </a:rPr>
              <a:t>https://xkcd.com/1597/</a:t>
            </a:r>
            <a:r>
              <a:rPr lang="en-US" dirty="0"/>
              <a:t> </a:t>
            </a:r>
          </a:p>
          <a:p>
            <a:endParaRPr lang="en-US"/>
          </a:p>
          <a:p>
            <a:r>
              <a:rPr lang="en-US" dirty="0"/>
              <a:t>Despite the “easy” learning curve, the idea of Git can be a bit much to think about. Once the core concepts are understood, Git becomes an indispensable tool.</a:t>
            </a:r>
          </a:p>
        </p:txBody>
      </p:sp>
      <p:sp>
        <p:nvSpPr>
          <p:cNvPr id="4" name="Date Placeholder 3"/>
          <p:cNvSpPr>
            <a:spLocks noGrp="1"/>
          </p:cNvSpPr>
          <p:nvPr>
            <p:ph type="dt" idx="1"/>
          </p:nvPr>
        </p:nvSpPr>
        <p:spPr/>
        <p:txBody>
          <a:bodyPr/>
          <a:lstStyle/>
          <a:p>
            <a:fld id="{6E2FAAA3-93A2-4DE3-8532-3F5022DD3E5C}" type="datetime1">
              <a:rPr lang="en-US"/>
              <a:t>3/2/2020</a:t>
            </a:fld>
            <a:endParaRPr lang="en-US"/>
          </a:p>
        </p:txBody>
      </p:sp>
    </p:spTree>
    <p:extLst>
      <p:ext uri="{BB962C8B-B14F-4D97-AF65-F5344CB8AC3E}">
        <p14:creationId xmlns:p14="http://schemas.microsoft.com/office/powerpoint/2010/main" val="1090772508"/>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senter note: We talk more about this process in upcoming slides. This is a high level of cloning a project.</a:t>
            </a:r>
          </a:p>
        </p:txBody>
      </p:sp>
      <p:sp>
        <p:nvSpPr>
          <p:cNvPr id="4" name="Date Placeholder 3"/>
          <p:cNvSpPr>
            <a:spLocks noGrp="1"/>
          </p:cNvSpPr>
          <p:nvPr>
            <p:ph type="dt" idx="1"/>
          </p:nvPr>
        </p:nvSpPr>
        <p:spPr/>
        <p:txBody>
          <a:bodyPr/>
          <a:lstStyle/>
          <a:p>
            <a:fld id="{5F4FF28B-CC80-4799-A340-ABA7B9DB79C4}" type="datetime1">
              <a:rPr lang="en-US"/>
              <a:t>3/2/2020</a:t>
            </a:fld>
            <a:endParaRPr lang="en-US"/>
          </a:p>
        </p:txBody>
      </p:sp>
    </p:spTree>
    <p:extLst>
      <p:ext uri="{BB962C8B-B14F-4D97-AF65-F5344CB8AC3E}">
        <p14:creationId xmlns:p14="http://schemas.microsoft.com/office/powerpoint/2010/main" val="4216404313"/>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a:t>
            </a:r>
            <a:r>
              <a:rPr lang="en-US" dirty="0">
                <a:hlinkClick r:id="rId3"/>
              </a:rPr>
              <a:t>https://git-scm.com/docs/gitrepository-layout</a:t>
            </a:r>
            <a:r>
              <a:rPr lang="en-US" dirty="0"/>
              <a:t> </a:t>
            </a:r>
          </a:p>
          <a:p>
            <a:endParaRPr lang="en-US"/>
          </a:p>
        </p:txBody>
      </p:sp>
      <p:sp>
        <p:nvSpPr>
          <p:cNvPr id="4" name="Date Placeholder 3"/>
          <p:cNvSpPr>
            <a:spLocks noGrp="1"/>
          </p:cNvSpPr>
          <p:nvPr>
            <p:ph type="dt" idx="1"/>
          </p:nvPr>
        </p:nvSpPr>
        <p:spPr/>
        <p:txBody>
          <a:bodyPr/>
          <a:lstStyle/>
          <a:p>
            <a:fld id="{60C01286-AC91-4B35-BF1F-0E0A86ABA5B5}" type="datetime1">
              <a:rPr lang="en-US"/>
              <a:t>3/2/2020</a:t>
            </a:fld>
            <a:endParaRPr lang="en-US"/>
          </a:p>
        </p:txBody>
      </p:sp>
    </p:spTree>
    <p:extLst>
      <p:ext uri="{BB962C8B-B14F-4D97-AF65-F5344CB8AC3E}">
        <p14:creationId xmlns:p14="http://schemas.microsoft.com/office/powerpoint/2010/main" val="3709660323"/>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Reference: </a:t>
            </a:r>
            <a:r>
              <a:rPr lang="en-US" dirty="0">
                <a:hlinkClick r:id="rId3"/>
              </a:rPr>
              <a:t>https://git-scm.com/book/en/v2/Getting-Started-Git-Basics</a:t>
            </a:r>
            <a:r>
              <a:rPr lang="en-US" dirty="0"/>
              <a:t> </a:t>
            </a:r>
          </a:p>
          <a:p>
            <a:endParaRPr lang="en-US"/>
          </a:p>
        </p:txBody>
      </p:sp>
      <p:sp>
        <p:nvSpPr>
          <p:cNvPr id="4" name="Date Placeholder 3"/>
          <p:cNvSpPr>
            <a:spLocks noGrp="1"/>
          </p:cNvSpPr>
          <p:nvPr>
            <p:ph type="dt" idx="1"/>
          </p:nvPr>
        </p:nvSpPr>
        <p:spPr/>
        <p:txBody>
          <a:bodyPr/>
          <a:lstStyle/>
          <a:p>
            <a:fld id="{60C01286-AC91-4B35-BF1F-0E0A86ABA5B5}" type="datetime1">
              <a:rPr lang="en-US"/>
              <a:t>3/2/2020</a:t>
            </a:fld>
            <a:endParaRPr lang="en-US"/>
          </a:p>
        </p:txBody>
      </p:sp>
    </p:spTree>
    <p:extLst>
      <p:ext uri="{BB962C8B-B14F-4D97-AF65-F5344CB8AC3E}">
        <p14:creationId xmlns:p14="http://schemas.microsoft.com/office/powerpoint/2010/main" val="1486894337"/>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4FE05516-E1CF-436F-B73D-4EA0D8454377}" type="datetime1">
              <a:rPr lang="en-US"/>
              <a:t>3/2/2020</a:t>
            </a:fld>
            <a:endParaRPr lang="en-US"/>
          </a:p>
        </p:txBody>
      </p:sp>
    </p:spTree>
    <p:extLst>
      <p:ext uri="{BB962C8B-B14F-4D97-AF65-F5344CB8AC3E}">
        <p14:creationId xmlns:p14="http://schemas.microsoft.com/office/powerpoint/2010/main" val="2261413508"/>
      </p:ext>
    </p:extLst>
  </p:cSld>
  <p:clrMapOvr>
    <a:masterClrMapping/>
  </p:clrMapOvr>
</p:notes>
</file>

<file path=ppt/notesSlides/notesSlide1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18</a:t>
            </a:fld>
            <a:endParaRPr lang="en-US" sz="100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3/2/2020 1:53 PM</a:t>
            </a:fld>
            <a:endParaRPr lang="en-US" sz="100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a:p>
        </p:txBody>
      </p:sp>
    </p:spTree>
    <p:extLst>
      <p:ext uri="{BB962C8B-B14F-4D97-AF65-F5344CB8AC3E}">
        <p14:creationId xmlns:p14="http://schemas.microsoft.com/office/powerpoint/2010/main" val="2525532100"/>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tHub is only one option for hosting</a:t>
            </a:r>
          </a:p>
        </p:txBody>
      </p:sp>
      <p:sp>
        <p:nvSpPr>
          <p:cNvPr id="4" name="Date Placeholder 3"/>
          <p:cNvSpPr>
            <a:spLocks noGrp="1"/>
          </p:cNvSpPr>
          <p:nvPr>
            <p:ph type="dt" idx="1"/>
          </p:nvPr>
        </p:nvSpPr>
        <p:spPr/>
        <p:txBody>
          <a:bodyPr/>
          <a:lstStyle/>
          <a:p>
            <a:fld id="{34E2CFCE-6F93-4872-B19A-E0BC5F8626BB}" type="datetime1">
              <a:rPr lang="en-US"/>
              <a:t>3/2/2020</a:t>
            </a:fld>
            <a:endParaRPr lang="en-US"/>
          </a:p>
        </p:txBody>
      </p:sp>
    </p:spTree>
    <p:extLst>
      <p:ext uri="{BB962C8B-B14F-4D97-AF65-F5344CB8AC3E}">
        <p14:creationId xmlns:p14="http://schemas.microsoft.com/office/powerpoint/2010/main" val="2381443837"/>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y other Git repositories exist but GitHub is one of the most popular.</a:t>
            </a:r>
          </a:p>
        </p:txBody>
      </p:sp>
      <p:sp>
        <p:nvSpPr>
          <p:cNvPr id="4" name="Date Placeholder 3"/>
          <p:cNvSpPr>
            <a:spLocks noGrp="1"/>
          </p:cNvSpPr>
          <p:nvPr>
            <p:ph type="dt" idx="1"/>
          </p:nvPr>
        </p:nvSpPr>
        <p:spPr/>
        <p:txBody>
          <a:bodyPr/>
          <a:lstStyle/>
          <a:p>
            <a:fld id="{4D600CF0-F7F9-440D-8B50-E1EB6120F8BA}" type="datetime1">
              <a:rPr lang="en-US"/>
              <a:t>3/2/2020</a:t>
            </a:fld>
            <a:endParaRPr lang="en-US"/>
          </a:p>
        </p:txBody>
      </p:sp>
    </p:spTree>
    <p:extLst>
      <p:ext uri="{BB962C8B-B14F-4D97-AF65-F5344CB8AC3E}">
        <p14:creationId xmlns:p14="http://schemas.microsoft.com/office/powerpoint/2010/main" val="1235148926"/>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43A2C140-83BD-40D6-8C95-CECD0F16B769}" type="datetime1">
              <a:rPr lang="en-US"/>
              <a:t>3/2/2020</a:t>
            </a:fld>
            <a:endParaRPr lang="en-US"/>
          </a:p>
        </p:txBody>
      </p:sp>
    </p:spTree>
    <p:extLst>
      <p:ext uri="{BB962C8B-B14F-4D97-AF65-F5344CB8AC3E}">
        <p14:creationId xmlns:p14="http://schemas.microsoft.com/office/powerpoint/2010/main" val="389139208"/>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3D571F3B-9B98-4619-862C-2F62F7A52C26}" type="datetime1">
              <a:rPr lang="en-US"/>
              <a:t>3/2/2020</a:t>
            </a:fld>
            <a:endParaRPr lang="en-US"/>
          </a:p>
        </p:txBody>
      </p:sp>
    </p:spTree>
    <p:extLst>
      <p:ext uri="{BB962C8B-B14F-4D97-AF65-F5344CB8AC3E}">
        <p14:creationId xmlns:p14="http://schemas.microsoft.com/office/powerpoint/2010/main" val="3814577698"/>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D05318A-054E-416C-A1EB-50D2E4AB3C8E}"/>
              </a:ext>
            </a:extLst>
          </p:cNvPr>
          <p:cNvSpPr>
            <a:spLocks noGrp="1"/>
          </p:cNvSpPr>
          <p:nvPr>
            <p:ph type="sldNum" sz="quarter" idx="10"/>
          </p:nvPr>
        </p:nvSpPr>
        <p:spPr>
          <a:xfrm>
            <a:off x="5909309" y="8685213"/>
            <a:ext cx="947103" cy="457200"/>
          </a:xfrm>
          <a:prstGeom prst="rect">
            <a:avLst/>
          </a:prstGeom>
        </p:spPr>
        <p:txBody>
          <a:bodyPr/>
          <a:lstStyle/>
          <a:p>
            <a:fld id="{B4008EB6-D09E-4580-8CD6-DDB14511944F}" type="slidenum">
              <a:rPr lang="en-US"/>
              <a:pPr/>
              <a:t>2</a:t>
            </a:fld>
            <a:endParaRPr lang="en-US"/>
          </a:p>
        </p:txBody>
      </p:sp>
      <p:sp>
        <p:nvSpPr>
          <p:cNvPr id="6" name="Slide Image Placeholder 5">
            <a:extLst>
              <a:ext uri="{FF2B5EF4-FFF2-40B4-BE49-F238E27FC236}">
                <a16:creationId xmlns:a16="http://schemas.microsoft.com/office/drawing/2014/main" id="{AB3A5A5B-5223-4DD5-B85D-9233C92BDFA0}"/>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49C6FDCB-6BB2-45D6-9E4C-5FD135C2D1FC}"/>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E54A3777-CF28-491E-9D6F-EDB52FCF7CC7}"/>
              </a:ext>
            </a:extLst>
          </p:cNvPr>
          <p:cNvSpPr>
            <a:spLocks noGrp="1"/>
          </p:cNvSpPr>
          <p:nvPr>
            <p:ph type="dt" idx="11"/>
          </p:nvPr>
        </p:nvSpPr>
        <p:spPr>
          <a:xfrm>
            <a:off x="3884613" y="1"/>
            <a:ext cx="2971800" cy="458788"/>
          </a:xfrm>
          <a:prstGeom prst="rect">
            <a:avLst/>
          </a:prstGeom>
        </p:spPr>
        <p:txBody>
          <a:bodyPr/>
          <a:lstStyle/>
          <a:p>
            <a:fld id="{8BF1F277-1E2C-482D-B27F-EC05DCDBE7D6}" type="datetime8">
              <a:rPr lang="en-US"/>
              <a:t>3/2/2020 1:53 PM</a:t>
            </a:fld>
            <a:endParaRPr lang="en-US"/>
          </a:p>
        </p:txBody>
      </p:sp>
    </p:spTree>
    <p:extLst>
      <p:ext uri="{BB962C8B-B14F-4D97-AF65-F5344CB8AC3E}">
        <p14:creationId xmlns:p14="http://schemas.microsoft.com/office/powerpoint/2010/main" val="2685669984"/>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94D06A16-D518-468F-B380-251AD3E775BB}" type="datetime1">
              <a:rPr lang="en-US"/>
              <a:t>3/2/2020</a:t>
            </a:fld>
            <a:endParaRPr lang="en-US"/>
          </a:p>
        </p:txBody>
      </p:sp>
    </p:spTree>
    <p:extLst>
      <p:ext uri="{BB962C8B-B14F-4D97-AF65-F5344CB8AC3E}">
        <p14:creationId xmlns:p14="http://schemas.microsoft.com/office/powerpoint/2010/main" val="256370947"/>
      </p:ext>
    </p:extLst>
  </p:cSld>
  <p:clrMapOvr>
    <a:masterClrMapping/>
  </p:clrMapOvr>
</p:notes>
</file>

<file path=ppt/notesSlides/notesSlide2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1</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a:lnSpc>
                <a:spcPct val="90000"/>
              </a:lnSpc>
              <a:spcAft>
                <a:spcPts val="333"/>
              </a:spcAft>
              <a:defRPr/>
            </a:pPr>
            <a:r>
              <a:rPr lang="en-US" sz="850" noProof="1">
                <a:solidFill>
                  <a:prstClr val="black"/>
                </a:solidFill>
                <a:latin typeface="Segoe UI Light"/>
                <a:cs typeface="Segoe UI Light"/>
              </a:rPr>
              <a:t>Consider demoing this as you go. You can view the demo ps1 and video in the instructor folder.</a:t>
            </a:r>
          </a:p>
          <a:p>
            <a:pPr marL="228600" indent="-228600">
              <a:lnSpc>
                <a:spcPct val="90000"/>
              </a:lnSpc>
              <a:spcAft>
                <a:spcPts val="333"/>
              </a:spcAft>
              <a:buAutoNum type="arabicPeriod"/>
              <a:defRPr/>
            </a:pPr>
            <a:r>
              <a:rPr lang="en-US" sz="850" noProof="1">
                <a:latin typeface="Segoe UI Light"/>
                <a:cs typeface="Segoe UI Light"/>
              </a:rPr>
              <a:t>configure git with a usename and email</a:t>
            </a:r>
            <a:endParaRPr lang="en-US" sz="850" noProof="1">
              <a:cs typeface="Segoe UI Light"/>
            </a:endParaRPr>
          </a:p>
          <a:p>
            <a:pPr marL="228600" indent="-228600">
              <a:lnSpc>
                <a:spcPct val="90000"/>
              </a:lnSpc>
              <a:spcAft>
                <a:spcPts val="333"/>
              </a:spcAft>
              <a:buAutoNum type="arabicPeriod"/>
              <a:defRPr/>
            </a:pPr>
            <a:r>
              <a:rPr lang="en-US" sz="850" noProof="1">
                <a:latin typeface="Segoe UI Light"/>
                <a:cs typeface="Segoe UI Light"/>
              </a:rPr>
              <a:t>Install posh-git </a:t>
            </a:r>
          </a:p>
          <a:p>
            <a:pPr marL="228600" indent="-228600">
              <a:lnSpc>
                <a:spcPct val="90000"/>
              </a:lnSpc>
              <a:spcAft>
                <a:spcPts val="333"/>
              </a:spcAft>
              <a:buAutoNum type="arabicPeriod"/>
              <a:defRPr/>
            </a:pPr>
            <a:r>
              <a:rPr lang="en-US" sz="850" noProof="1">
                <a:latin typeface="Segoe UI Light"/>
                <a:cs typeface="Segoe UI Light"/>
              </a:rPr>
              <a:t>Make a new directory, init a first repo</a:t>
            </a:r>
          </a:p>
          <a:p>
            <a:pPr marL="228600" indent="-228600">
              <a:lnSpc>
                <a:spcPct val="90000"/>
              </a:lnSpc>
              <a:spcAft>
                <a:spcPts val="333"/>
              </a:spcAft>
              <a:buAutoNum type="arabicPeriod"/>
              <a:defRPr/>
            </a:pPr>
            <a:r>
              <a:rPr lang="en-US" sz="850" noProof="1">
                <a:latin typeface="Segoe UI Light"/>
                <a:cs typeface="Segoe UI Light"/>
              </a:rPr>
              <a:t>Make a file, add that file</a:t>
            </a:r>
          </a:p>
          <a:p>
            <a:pPr marL="228600" indent="-228600">
              <a:lnSpc>
                <a:spcPct val="90000"/>
              </a:lnSpc>
              <a:spcAft>
                <a:spcPts val="333"/>
              </a:spcAft>
              <a:buAutoNum type="arabicPeriod"/>
              <a:defRPr/>
            </a:pPr>
            <a:r>
              <a:rPr lang="en-US" sz="850" noProof="1">
                <a:latin typeface="Segoe UI Light"/>
                <a:cs typeface="Segoe UI Light"/>
              </a:rPr>
              <a:t>Show git status</a:t>
            </a:r>
          </a:p>
          <a:p>
            <a:pPr marL="228600" indent="-228600">
              <a:lnSpc>
                <a:spcPct val="90000"/>
              </a:lnSpc>
              <a:spcAft>
                <a:spcPts val="333"/>
              </a:spcAft>
              <a:buAutoNum type="arabicPeriod"/>
              <a:defRPr/>
            </a:pPr>
            <a:r>
              <a:rPr lang="en-US" sz="850" noProof="1">
                <a:latin typeface="Segoe UI Light"/>
                <a:cs typeface="Segoe UI Light"/>
              </a:rPr>
              <a:t>Commit</a:t>
            </a:r>
          </a:p>
          <a:p>
            <a:pPr marL="228600" indent="-228600">
              <a:lnSpc>
                <a:spcPct val="90000"/>
              </a:lnSpc>
              <a:spcAft>
                <a:spcPts val="333"/>
              </a:spcAft>
              <a:buAutoNum type="arabicPeriod"/>
              <a:defRPr/>
            </a:pPr>
            <a:endParaRPr lang="en-US" sz="850" noProof="1">
              <a:latin typeface="Segoe UI Light"/>
              <a:cs typeface="Segoe UI Light"/>
            </a:endParaRPr>
          </a:p>
          <a:p>
            <a:pPr>
              <a:defRPr/>
            </a:pPr>
            <a:r>
              <a:rPr lang="en-US" noProof="1"/>
              <a:t>#need e-mail and user for git repository</a:t>
            </a:r>
            <a:endParaRPr lang="en-US" dirty="0"/>
          </a:p>
          <a:p>
            <a:pPr marL="384454" lvl="1" indent="-171450">
              <a:buFont typeface="Arial" panose="020B0604020202020204" pitchFamily="34" charset="0"/>
              <a:buChar char="•"/>
              <a:defRPr/>
            </a:pPr>
            <a:r>
              <a:rPr lang="en-US" b="1" noProof="1"/>
              <a:t>git config --global user.name "your name here"</a:t>
            </a:r>
            <a:endParaRPr lang="en-US" b="1" dirty="0"/>
          </a:p>
          <a:p>
            <a:pPr marL="384454" lvl="1" indent="-171450">
              <a:buFont typeface="Arial" panose="020B0604020202020204" pitchFamily="34" charset="0"/>
              <a:buChar char="•"/>
              <a:defRPr/>
            </a:pPr>
            <a:r>
              <a:rPr lang="en-US" b="1" noProof="1"/>
              <a:t>git config --global user.email "your email here"</a:t>
            </a:r>
            <a:endParaRPr lang="en-US" b="1" dirty="0"/>
          </a:p>
          <a:p>
            <a:pPr>
              <a:defRPr/>
            </a:pPr>
            <a:r>
              <a:rPr lang="en-US" noProof="1"/>
              <a:t> </a:t>
            </a:r>
            <a:endParaRPr lang="en-US" dirty="0"/>
          </a:p>
          <a:p>
            <a:pPr>
              <a:defRPr/>
            </a:pPr>
            <a:r>
              <a:rPr lang="en-US" noProof="1"/>
              <a:t>#install the Posh-git module that has colors and information at the command prompt.</a:t>
            </a:r>
            <a:endParaRPr lang="en-US" dirty="0"/>
          </a:p>
          <a:p>
            <a:pPr marL="384454" lvl="1" indent="-171450">
              <a:buFont typeface="Arial" panose="020B0604020202020204" pitchFamily="34" charset="0"/>
              <a:buChar char="•"/>
              <a:defRPr/>
            </a:pPr>
            <a:r>
              <a:rPr lang="en-US" b="1" noProof="1"/>
              <a:t>Install-Module posh-git -force</a:t>
            </a:r>
            <a:endParaRPr lang="en-US" b="1" dirty="0"/>
          </a:p>
          <a:p>
            <a:pPr>
              <a:defRPr/>
            </a:pPr>
            <a:r>
              <a:rPr lang="en-US" noProof="1"/>
              <a:t> </a:t>
            </a:r>
            <a:endParaRPr lang="en-US" dirty="0"/>
          </a:p>
          <a:p>
            <a:pPr>
              <a:defRPr/>
            </a:pPr>
            <a:r>
              <a:rPr lang="en-US" noProof="1"/>
              <a:t>#create folder if not already created</a:t>
            </a:r>
            <a:endParaRPr lang="en-US" dirty="0"/>
          </a:p>
          <a:p>
            <a:pPr marL="384454" lvl="1" indent="-171450">
              <a:buFont typeface="Arial" panose="020B0604020202020204" pitchFamily="34" charset="0"/>
              <a:buChar char="•"/>
              <a:defRPr/>
            </a:pPr>
            <a:r>
              <a:rPr lang="en-US" b="1" noProof="1"/>
              <a:t>New-Item -ItemType Directory 'c:\temp\Repos' -ea 0</a:t>
            </a:r>
            <a:endParaRPr lang="en-US" b="1" dirty="0"/>
          </a:p>
          <a:p>
            <a:pPr>
              <a:defRPr/>
            </a:pPr>
            <a:r>
              <a:rPr lang="en-US" noProof="1"/>
              <a:t> </a:t>
            </a:r>
            <a:endParaRPr lang="en-US" dirty="0"/>
          </a:p>
          <a:p>
            <a:pPr>
              <a:defRPr/>
            </a:pPr>
            <a:r>
              <a:rPr lang="en-US" noProof="1"/>
              <a:t>#change directory to new folder created</a:t>
            </a:r>
            <a:endParaRPr lang="en-US" dirty="0"/>
          </a:p>
          <a:p>
            <a:pPr marL="384454" lvl="1" indent="-171450">
              <a:buFont typeface="Arial" panose="020B0604020202020204" pitchFamily="34" charset="0"/>
              <a:buChar char="•"/>
              <a:defRPr/>
            </a:pPr>
            <a:r>
              <a:rPr lang="en-US" b="1" noProof="1"/>
              <a:t>Set-Location C:\Temp\Repos</a:t>
            </a:r>
            <a:endParaRPr lang="en-US" b="1" dirty="0"/>
          </a:p>
          <a:p>
            <a:pPr>
              <a:defRPr/>
            </a:pPr>
            <a:r>
              <a:rPr lang="en-US" noProof="1"/>
              <a:t> </a:t>
            </a:r>
            <a:endParaRPr lang="en-US" dirty="0"/>
          </a:p>
          <a:p>
            <a:pPr>
              <a:defRPr/>
            </a:pPr>
            <a:r>
              <a:rPr lang="en-US" noProof="1"/>
              <a:t>#create repo</a:t>
            </a:r>
            <a:endParaRPr lang="en-US" dirty="0"/>
          </a:p>
          <a:p>
            <a:pPr marL="384454" lvl="1" indent="-171450">
              <a:buFont typeface="Arial" panose="020B0604020202020204" pitchFamily="34" charset="0"/>
              <a:buChar char="•"/>
              <a:defRPr/>
            </a:pPr>
            <a:r>
              <a:rPr lang="en-US" b="1" noProof="1"/>
              <a:t>git init MyFirstRepo</a:t>
            </a:r>
            <a:endParaRPr lang="en-US" b="1" dirty="0"/>
          </a:p>
          <a:p>
            <a:pPr>
              <a:defRPr/>
            </a:pPr>
            <a:r>
              <a:rPr lang="en-US" noProof="1"/>
              <a:t> </a:t>
            </a:r>
            <a:endParaRPr lang="en-US" dirty="0"/>
          </a:p>
          <a:p>
            <a:pPr>
              <a:defRPr/>
            </a:pPr>
            <a:r>
              <a:rPr lang="en-US" noProof="1"/>
              <a:t>#create file and add content</a:t>
            </a:r>
            <a:endParaRPr lang="en-US" dirty="0"/>
          </a:p>
          <a:p>
            <a:pPr marL="384454" lvl="1" indent="-171450">
              <a:buFont typeface="Arial" panose="020B0604020202020204" pitchFamily="34" charset="0"/>
              <a:buChar char="•"/>
              <a:defRPr/>
            </a:pPr>
            <a:r>
              <a:rPr lang="en-US" b="1" noProof="1"/>
              <a:t>New-Item myfile.txt | Set-Content -Value "This is some text"</a:t>
            </a:r>
            <a:endParaRPr lang="en-US" b="1" dirty="0"/>
          </a:p>
          <a:p>
            <a:pPr>
              <a:defRPr/>
            </a:pPr>
            <a:r>
              <a:rPr lang="en-US" noProof="1"/>
              <a:t> </a:t>
            </a:r>
            <a:endParaRPr lang="en-US" dirty="0"/>
          </a:p>
          <a:p>
            <a:pPr>
              <a:defRPr/>
            </a:pPr>
            <a:r>
              <a:rPr lang="en-US" noProof="1"/>
              <a:t>#add files</a:t>
            </a:r>
            <a:endParaRPr lang="en-US" dirty="0"/>
          </a:p>
          <a:p>
            <a:pPr marL="384454" lvl="1" indent="-171450">
              <a:buFont typeface="Arial" panose="020B0604020202020204" pitchFamily="34" charset="0"/>
              <a:buChar char="•"/>
              <a:defRPr/>
            </a:pPr>
            <a:r>
              <a:rPr lang="en-US" b="1" noProof="1"/>
              <a:t>git add .</a:t>
            </a:r>
            <a:endParaRPr lang="en-US" b="1" dirty="0"/>
          </a:p>
          <a:p>
            <a:pPr>
              <a:defRPr/>
            </a:pPr>
            <a:r>
              <a:rPr lang="en-US" noProof="1"/>
              <a:t> </a:t>
            </a:r>
            <a:endParaRPr lang="en-US" dirty="0"/>
          </a:p>
          <a:p>
            <a:pPr>
              <a:defRPr/>
            </a:pPr>
            <a:r>
              <a:rPr lang="en-US" noProof="1"/>
              <a:t>#get status of git</a:t>
            </a:r>
            <a:endParaRPr lang="en-US" dirty="0"/>
          </a:p>
          <a:p>
            <a:pPr marL="384454" lvl="1" indent="-171450">
              <a:buFont typeface="Arial" panose="020B0604020202020204" pitchFamily="34" charset="0"/>
              <a:buChar char="•"/>
              <a:defRPr/>
            </a:pPr>
            <a:r>
              <a:rPr lang="en-US" b="1" noProof="1"/>
              <a:t>git status</a:t>
            </a:r>
            <a:endParaRPr lang="en-US" b="1" dirty="0"/>
          </a:p>
          <a:p>
            <a:pPr>
              <a:defRPr/>
            </a:pPr>
            <a:r>
              <a:rPr lang="en-US" noProof="1"/>
              <a:t> </a:t>
            </a:r>
            <a:endParaRPr lang="en-US" dirty="0"/>
          </a:p>
          <a:p>
            <a:pPr>
              <a:defRPr/>
            </a:pPr>
            <a:r>
              <a:rPr lang="en-US" noProof="1"/>
              <a:t>#commit to git repo</a:t>
            </a:r>
            <a:endParaRPr lang="en-US" dirty="0"/>
          </a:p>
          <a:p>
            <a:pPr marL="384454" lvl="1" indent="-171450">
              <a:buFont typeface="Arial" panose="020B0604020202020204" pitchFamily="34" charset="0"/>
              <a:buChar char="•"/>
              <a:defRPr/>
            </a:pPr>
            <a:r>
              <a:rPr lang="en-US" b="1" noProof="1"/>
              <a:t>git commit -m "My first commit"</a:t>
            </a:r>
            <a:endParaRPr lang="en-US" b="1" dirty="0"/>
          </a:p>
          <a:p>
            <a:pPr>
              <a:defRPr/>
            </a:pPr>
            <a:r>
              <a:rPr lang="en-US" noProof="1"/>
              <a:t> </a:t>
            </a:r>
            <a:endParaRPr lang="en-US" dirty="0"/>
          </a:p>
          <a:p>
            <a:pPr>
              <a:defRPr/>
            </a:pPr>
            <a:r>
              <a:rPr lang="en-US" noProof="1"/>
              <a:t> </a:t>
            </a:r>
            <a:endParaRPr lang="en-US" dirty="0"/>
          </a:p>
          <a:p>
            <a:pPr marL="384454" lvl="1" indent="-171450">
              <a:buFont typeface="Arial" panose="020B0604020202020204" pitchFamily="34" charset="0"/>
              <a:buChar char="•"/>
              <a:defRPr/>
            </a:pPr>
            <a:r>
              <a:rPr lang="en-US" b="1" noProof="1"/>
              <a:t>git commit</a:t>
            </a:r>
            <a:endParaRPr lang="en-US" b="1" dirty="0"/>
          </a:p>
          <a:p>
            <a:pPr>
              <a:defRPr/>
            </a:pPr>
            <a:r>
              <a:rPr lang="en-US" noProof="1"/>
              <a:t> </a:t>
            </a:r>
            <a:endParaRPr lang="en-US" dirty="0"/>
          </a:p>
          <a:p>
            <a:pPr>
              <a:defRPr/>
            </a:pPr>
            <a:r>
              <a:rPr lang="en-US" noProof="1"/>
              <a:t>#show the log of the git repo changes/commits</a:t>
            </a:r>
            <a:endParaRPr lang="en-US" dirty="0"/>
          </a:p>
          <a:p>
            <a:pPr marL="384454" lvl="1" indent="-171450">
              <a:lnSpc>
                <a:spcPct val="90000"/>
              </a:lnSpc>
              <a:spcAft>
                <a:spcPts val="333"/>
              </a:spcAft>
              <a:buFont typeface="Arial" panose="020B0604020202020204" pitchFamily="34" charset="0"/>
              <a:buChar char="•"/>
              <a:defRPr/>
            </a:pPr>
            <a:r>
              <a:rPr lang="en-US" b="1" noProof="1">
                <a:latin typeface="Segoe UI Light"/>
                <a:cs typeface="Segoe UI Light"/>
              </a:rPr>
              <a:t>git log –oneline</a:t>
            </a:r>
            <a:endParaRPr lang="en-US" b="1" dirty="0">
              <a:cs typeface="Segoe UI Light" pitchFamily="34" charset="0"/>
            </a:endParaRPr>
          </a:p>
          <a:p>
            <a:pPr>
              <a:lnSpc>
                <a:spcPct val="90000"/>
              </a:lnSpc>
              <a:spcAft>
                <a:spcPts val="333"/>
              </a:spcAft>
              <a:defRPr/>
            </a:pPr>
            <a:endParaRPr lang="en-US" noProof="1">
              <a:latin typeface="Segoe UI Light"/>
              <a:cs typeface="Segoe UI Light"/>
            </a:endParaRPr>
          </a:p>
          <a:p>
            <a:pPr>
              <a:lnSpc>
                <a:spcPct val="90000"/>
              </a:lnSpc>
              <a:spcAft>
                <a:spcPts val="333"/>
              </a:spcAft>
              <a:defRPr/>
            </a:pPr>
            <a:r>
              <a:rPr lang="en-US" sz="850" noProof="1">
                <a:cs typeface="Segoe UI Light"/>
              </a:rPr>
              <a:t>#####</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98648326"/>
      </p:ext>
    </p:extLst>
  </p:cSld>
  <p:clrMapOvr>
    <a:masterClrMapping/>
  </p:clrMapOvr>
</p:notes>
</file>

<file path=ppt/notesSlides/notesSlide2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a:pPr/>
              <a:t>32</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107859767"/>
      </p:ext>
    </p:extLst>
  </p:cSld>
  <p:clrMapOvr>
    <a:masterClrMapping/>
  </p:clrMapOvr>
</p:notes>
</file>

<file path=ppt/notesSlides/notesSlide2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lstStyle/>
          <a:p>
            <a:fld id="{EC87E0CF-87F6-4B58-B8B8-DCAB2DAAF3CA}" type="slidenum">
              <a:rPr lang="en-US"/>
              <a:pPr/>
              <a:t>33</a:t>
            </a:fld>
            <a:endParaRPr lang="en-US"/>
          </a:p>
        </p:txBody>
      </p:sp>
      <p:sp>
        <p:nvSpPr>
          <p:cNvPr id="10" name="Slide Image Placeholder 9">
            <a:extLst>
              <a:ext uri="{FF2B5EF4-FFF2-40B4-BE49-F238E27FC236}">
                <a16:creationId xmlns:a16="http://schemas.microsoft.com/office/drawing/2014/main" id="{78F88C93-2AC6-4259-8E72-48689E75DD8E}"/>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5875227C-7667-4D34-AC4C-D2C34D66B61D}"/>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CF2BF15B-46B3-461E-B4BD-0EA1A9EAF87F}"/>
              </a:ext>
            </a:extLst>
          </p:cNvPr>
          <p:cNvSpPr>
            <a:spLocks noGrp="1"/>
          </p:cNvSpPr>
          <p:nvPr>
            <p:ph type="dt" idx="15"/>
          </p:nvPr>
        </p:nvSpPr>
        <p:spPr>
          <a:xfrm>
            <a:off x="3884613" y="1"/>
            <a:ext cx="2971800" cy="458788"/>
          </a:xfrm>
          <a:prstGeom prst="rect">
            <a:avLst/>
          </a:prstGeom>
        </p:spPr>
        <p:txBody>
          <a:bodyPr/>
          <a:lstStyle/>
          <a:p>
            <a:fld id="{FEF7E070-ACE9-4688-9DF6-05A4C1EB9BC3}" type="datetime8">
              <a:rPr lang="en-US"/>
              <a:t>3/2/2020 1:53 PM</a:t>
            </a:fld>
            <a:endParaRPr lang="en-US"/>
          </a:p>
        </p:txBody>
      </p:sp>
    </p:spTree>
    <p:extLst>
      <p:ext uri="{BB962C8B-B14F-4D97-AF65-F5344CB8AC3E}">
        <p14:creationId xmlns:p14="http://schemas.microsoft.com/office/powerpoint/2010/main" val="1507187855"/>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3</a:t>
            </a:fld>
            <a:endParaRPr lang="en-US" sz="100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3/2/2020 1:53 PM</a:t>
            </a:fld>
            <a:endParaRPr lang="en-US" sz="100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a:p>
        </p:txBody>
      </p:sp>
    </p:spTree>
    <p:extLst>
      <p:ext uri="{BB962C8B-B14F-4D97-AF65-F5344CB8AC3E}">
        <p14:creationId xmlns:p14="http://schemas.microsoft.com/office/powerpoint/2010/main" val="2886495079"/>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429D6B09-697D-4CE6-8660-DFC51A22B0D2}" type="datetime1">
              <a:rPr lang="en-US"/>
              <a:t>3/2/2020</a:t>
            </a:fld>
            <a:endParaRPr lang="en-US"/>
          </a:p>
        </p:txBody>
      </p:sp>
    </p:spTree>
    <p:extLst>
      <p:ext uri="{BB962C8B-B14F-4D97-AF65-F5344CB8AC3E}">
        <p14:creationId xmlns:p14="http://schemas.microsoft.com/office/powerpoint/2010/main" val="975054140"/>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85A6A68-AA23-480E-B354-BD69A8FFBCEB}" type="datetime1">
              <a:rPr lang="en-US"/>
              <a:t>3/2/2020</a:t>
            </a:fld>
            <a:endParaRPr lang="en-US"/>
          </a:p>
        </p:txBody>
      </p:sp>
    </p:spTree>
    <p:extLst>
      <p:ext uri="{BB962C8B-B14F-4D97-AF65-F5344CB8AC3E}">
        <p14:creationId xmlns:p14="http://schemas.microsoft.com/office/powerpoint/2010/main" val="1969234707"/>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FF0000"/>
                </a:solidFill>
              </a:rPr>
              <a:t>So what are the solutions to these challenges?</a:t>
            </a:r>
          </a:p>
          <a:p>
            <a:endParaRPr lang="en-US">
              <a:solidFill>
                <a:srgbClr val="FF0000"/>
              </a:solidFill>
            </a:endParaRPr>
          </a:p>
          <a:p>
            <a:r>
              <a:rPr lang="en-US" dirty="0">
                <a:solidFill>
                  <a:srgbClr val="FF0000"/>
                </a:solidFill>
              </a:rPr>
              <a:t>Applying agile practices to develop ‘Modern Apps’ holds great promise when executed properly:</a:t>
            </a:r>
          </a:p>
          <a:p>
            <a:endParaRPr lang="en-US">
              <a:solidFill>
                <a:srgbClr val="FF0000"/>
              </a:solidFill>
            </a:endParaRPr>
          </a:p>
          <a:p>
            <a:pPr marL="419372" lvl="1" indent="-184973"/>
            <a:r>
              <a:rPr lang="en-US" dirty="0">
                <a:solidFill>
                  <a:srgbClr val="FF0000"/>
                </a:solidFill>
              </a:rPr>
              <a:t>Faster and more frequent delivery</a:t>
            </a:r>
          </a:p>
          <a:p>
            <a:pPr marL="419372" lvl="1" indent="-184973"/>
            <a:r>
              <a:rPr lang="en-US" dirty="0">
                <a:solidFill>
                  <a:srgbClr val="FF0000"/>
                </a:solidFill>
              </a:rPr>
              <a:t>Higher Quality</a:t>
            </a:r>
          </a:p>
          <a:p>
            <a:pPr marL="419372" lvl="1" indent="-184973"/>
            <a:r>
              <a:rPr lang="en-US" dirty="0">
                <a:solidFill>
                  <a:srgbClr val="FF0000"/>
                </a:solidFill>
              </a:rPr>
              <a:t>Increased Stakeholder satisfaction</a:t>
            </a:r>
          </a:p>
          <a:p>
            <a:pPr marL="419372" lvl="1" indent="-184973"/>
            <a:r>
              <a:rPr lang="en-US" dirty="0">
                <a:solidFill>
                  <a:srgbClr val="FF0000"/>
                </a:solidFill>
              </a:rPr>
              <a:t>Higher ROI – continuous delivery of value</a:t>
            </a:r>
          </a:p>
          <a:p>
            <a:endParaRPr lang="en-US"/>
          </a:p>
          <a:p>
            <a:r>
              <a:rPr lang="en-US" dirty="0"/>
              <a:t>Note the</a:t>
            </a:r>
            <a:r>
              <a:rPr lang="en-US" baseline="0" dirty="0"/>
              <a:t> roles engaged in each of the phases – and n</a:t>
            </a:r>
            <a:r>
              <a:rPr lang="en-US" dirty="0"/>
              <a:t>otice that at the heart of all this is </a:t>
            </a:r>
            <a:r>
              <a:rPr lang="en-US" b="1" dirty="0"/>
              <a:t>‘Collaboration</a:t>
            </a:r>
            <a:r>
              <a:rPr lang="en-US" dirty="0"/>
              <a:t>’.    The whole team is aligned and collaborates throughout the lifecycle.</a:t>
            </a:r>
          </a:p>
        </p:txBody>
      </p:sp>
      <p:sp>
        <p:nvSpPr>
          <p:cNvPr id="4" name="Date Placeholder 3"/>
          <p:cNvSpPr>
            <a:spLocks noGrp="1"/>
          </p:cNvSpPr>
          <p:nvPr>
            <p:ph type="dt" idx="1"/>
          </p:nvPr>
        </p:nvSpPr>
        <p:spPr/>
        <p:txBody>
          <a:bodyPr/>
          <a:lstStyle/>
          <a:p>
            <a:fld id="{3C09F027-EF8D-4002-9662-874FCE736557}" type="datetime1">
              <a:rPr lang="en-US"/>
              <a:t>3/2/2020</a:t>
            </a:fld>
            <a:endParaRPr lang="en-US"/>
          </a:p>
        </p:txBody>
      </p:sp>
    </p:spTree>
    <p:extLst>
      <p:ext uri="{BB962C8B-B14F-4D97-AF65-F5344CB8AC3E}">
        <p14:creationId xmlns:p14="http://schemas.microsoft.com/office/powerpoint/2010/main" val="1279242218"/>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a:solidFill>
                  <a:schemeClr val="tx1"/>
                </a:solidFill>
                <a:effectLst/>
                <a:latin typeface="Segoe UI Light" pitchFamily="34" charset="0"/>
                <a:ea typeface="+mn-ea"/>
                <a:cs typeface="+mn-cs"/>
              </a:rPr>
              <a:t>Version control is a system that records changes to a file or set of files over time so that you can recall specific versions later. </a:t>
            </a:r>
            <a:endParaRPr lang="en-US" dirty="0"/>
          </a:p>
        </p:txBody>
      </p:sp>
      <p:sp>
        <p:nvSpPr>
          <p:cNvPr id="4" name="Date Placeholder 3"/>
          <p:cNvSpPr>
            <a:spLocks noGrp="1"/>
          </p:cNvSpPr>
          <p:nvPr>
            <p:ph type="dt" idx="1"/>
          </p:nvPr>
        </p:nvSpPr>
        <p:spPr/>
        <p:txBody>
          <a:bodyPr/>
          <a:lstStyle/>
          <a:p>
            <a:fld id="{3709B731-61C0-4FC6-B637-8BF27985948F}" type="datetime1">
              <a:rPr lang="en-US"/>
              <a:t>3/2/2020</a:t>
            </a:fld>
            <a:endParaRPr lang="en-US"/>
          </a:p>
        </p:txBody>
      </p:sp>
    </p:spTree>
    <p:extLst>
      <p:ext uri="{BB962C8B-B14F-4D97-AF65-F5344CB8AC3E}">
        <p14:creationId xmlns:p14="http://schemas.microsoft.com/office/powerpoint/2010/main" val="971156596"/>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CI: “… a software development practice where members of a team integrate their work frequently, usually each person integrates at least daily - leading to multiple integrations per day. Each integration is verified by an automated build (including test) to detect integration errors as quickly as possible. Many teams find that this approach leads to significantly reduced integration problems and allows a team to develop cohesive software more rapidly.” </a:t>
            </a:r>
          </a:p>
          <a:p>
            <a:pPr marL="0" marR="0" lvl="0" indent="0" algn="l" defTabSz="914460" rtl="0" eaLnBrk="1" fontAlgn="auto" latinLnBrk="0" hangingPunct="1">
              <a:lnSpc>
                <a:spcPct val="100000"/>
              </a:lnSpc>
              <a:spcBef>
                <a:spcPts val="0"/>
              </a:spcBef>
              <a:spcAft>
                <a:spcPts val="0"/>
              </a:spcAft>
              <a:buClrTx/>
              <a:buSzTx/>
              <a:buFontTx/>
              <a:buNone/>
              <a:tabLst/>
              <a:defRPr/>
            </a:pPr>
            <a:r>
              <a:rPr lang="en-US" sz="1000" dirty="0">
                <a:solidFill>
                  <a:srgbClr val="002060"/>
                </a:solidFill>
                <a:latin typeface="Segoe UI"/>
              </a:rPr>
              <a:t>Source</a:t>
            </a:r>
            <a:r>
              <a:rPr lang="en-US" sz="1000" dirty="0">
                <a:solidFill>
                  <a:srgbClr val="000000"/>
                </a:solidFill>
                <a:latin typeface="Segoe UI"/>
              </a:rPr>
              <a:t>: </a:t>
            </a:r>
            <a:r>
              <a:rPr lang="en-US" sz="1000" dirty="0">
                <a:solidFill>
                  <a:srgbClr val="000000"/>
                </a:solidFill>
                <a:latin typeface="Segoe UI"/>
                <a:hlinkClick r:id="rId3"/>
              </a:rPr>
              <a:t>https://martinfowler.com/articles/continuousIntegration.html</a:t>
            </a:r>
            <a:r>
              <a:rPr lang="en-US" sz="1000" dirty="0">
                <a:solidFill>
                  <a:srgbClr val="000000"/>
                </a:solidFill>
                <a:latin typeface="Segoe UI"/>
              </a:rPr>
              <a:t> </a:t>
            </a:r>
          </a:p>
          <a:p>
            <a:pPr marL="0" marR="0" lvl="0" indent="0" algn="l" defTabSz="914460" rtl="0" eaLnBrk="1" fontAlgn="auto" latinLnBrk="0" hangingPunct="1">
              <a:lnSpc>
                <a:spcPct val="100000"/>
              </a:lnSpc>
              <a:spcBef>
                <a:spcPts val="0"/>
              </a:spcBef>
              <a:spcAft>
                <a:spcPts val="0"/>
              </a:spcAft>
              <a:buClrTx/>
              <a:buSzTx/>
              <a:buFontTx/>
              <a:buNone/>
              <a:tabLst/>
              <a:defRPr/>
            </a:pPr>
            <a:endParaRPr lang="en-US"/>
          </a:p>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 a software engineering approach in which teams produce software in short cycles, ensuring that the software can be reliably released at any time. It aims at building, testing, and releasing software faster and more frequently. The approach helps reduce the cost, time, and risk of delivering changes by allowing for more incremental updates to applications in production. A straightforward and repeatable deployment process is important for continuous delivery.” </a:t>
            </a:r>
          </a:p>
          <a:p>
            <a:pPr marL="0" marR="0" lvl="0" indent="0" algn="l" defTabSz="914460" rtl="0" eaLnBrk="1" fontAlgn="auto" latinLnBrk="0" hangingPunct="1">
              <a:lnSpc>
                <a:spcPct val="100000"/>
              </a:lnSpc>
              <a:spcBef>
                <a:spcPts val="0"/>
              </a:spcBef>
              <a:spcAft>
                <a:spcPts val="0"/>
              </a:spcAft>
              <a:buClrTx/>
              <a:buSzTx/>
              <a:buFontTx/>
              <a:buNone/>
              <a:tabLst/>
              <a:defRPr/>
            </a:pPr>
            <a:r>
              <a:rPr lang="en-US" sz="1000" dirty="0">
                <a:solidFill>
                  <a:srgbClr val="002060"/>
                </a:solidFill>
                <a:latin typeface="Segoe UI"/>
              </a:rPr>
              <a:t>Source</a:t>
            </a:r>
            <a:r>
              <a:rPr lang="en-US" sz="1000" dirty="0">
                <a:solidFill>
                  <a:srgbClr val="000000"/>
                </a:solidFill>
                <a:latin typeface="Segoe UI"/>
              </a:rPr>
              <a:t>: </a:t>
            </a:r>
            <a:r>
              <a:rPr lang="en-US" sz="1000" dirty="0">
                <a:solidFill>
                  <a:srgbClr val="000000"/>
                </a:solidFill>
                <a:latin typeface="Segoe UI"/>
                <a:hlinkClick r:id="rId4"/>
              </a:rPr>
              <a:t>https://en.wikipedia.org/wiki/Continuous_delivery</a:t>
            </a:r>
            <a:r>
              <a:rPr lang="en-US" sz="1000" dirty="0">
                <a:solidFill>
                  <a:srgbClr val="000000"/>
                </a:solidFill>
                <a:latin typeface="Segoe UI"/>
              </a:rPr>
              <a:t> </a:t>
            </a:r>
          </a:p>
          <a:p>
            <a:pPr marL="0" marR="0" lvl="0" indent="0" algn="l" defTabSz="91446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Date Placeholder 3"/>
          <p:cNvSpPr>
            <a:spLocks noGrp="1"/>
          </p:cNvSpPr>
          <p:nvPr>
            <p:ph type="dt" idx="1"/>
          </p:nvPr>
        </p:nvSpPr>
        <p:spPr/>
        <p:txBody>
          <a:bodyPr/>
          <a:lstStyle/>
          <a:p>
            <a:fld id="{964FD1D9-4E24-4DDE-AF71-1EC38CC0E182}" type="datetime1">
              <a:rPr lang="en-US"/>
              <a:t>3/2/2020</a:t>
            </a:fld>
            <a:endParaRPr lang="en-US"/>
          </a:p>
        </p:txBody>
      </p:sp>
    </p:spTree>
    <p:extLst>
      <p:ext uri="{BB962C8B-B14F-4D97-AF65-F5344CB8AC3E}">
        <p14:creationId xmlns:p14="http://schemas.microsoft.com/office/powerpoint/2010/main" val="4175723427"/>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a:solidFill>
                  <a:schemeClr val="tx1"/>
                </a:solidFill>
                <a:effectLst/>
                <a:latin typeface="Segoe UI Light" pitchFamily="34" charset="0"/>
                <a:ea typeface="+mn-ea"/>
                <a:cs typeface="+mn-cs"/>
              </a:rPr>
              <a:t>Source: </a:t>
            </a:r>
            <a:r>
              <a:rPr lang="en-US" dirty="0">
                <a:hlinkClick r:id="rId3"/>
              </a:rPr>
              <a:t>https://git-scm.com/</a:t>
            </a:r>
            <a:endParaRPr lang="en-US"/>
          </a:p>
          <a:p>
            <a:r>
              <a:rPr lang="en-US" sz="1000" b="0" i="0" kern="1200" dirty="0">
                <a:solidFill>
                  <a:schemeClr val="tx1"/>
                </a:solidFill>
                <a:effectLst/>
                <a:latin typeface="Segoe UI Light" pitchFamily="34" charset="0"/>
                <a:ea typeface="+mn-ea"/>
                <a:cs typeface="+mn-cs"/>
              </a:rPr>
              <a:t>Git is a free and open source distributed version control system designed to handle everything from small to very large projects with speed and efficiency.</a:t>
            </a:r>
          </a:p>
          <a:p>
            <a:r>
              <a:rPr lang="en-US" sz="1000" b="0" i="0" kern="1200" dirty="0">
                <a:solidFill>
                  <a:schemeClr val="tx1"/>
                </a:solidFill>
                <a:effectLst/>
                <a:latin typeface="Segoe UI Light" pitchFamily="34" charset="0"/>
                <a:ea typeface="+mn-ea"/>
                <a:cs typeface="+mn-cs"/>
              </a:rPr>
              <a:t>Git is easy to learn and has a tiny footprint with lightning fast performance. It outclasses SCM tools like Subversion, CVS, Perforce, and ClearCase with features like cheap local branching, convenient staging areas, and multiple workflows.</a:t>
            </a:r>
          </a:p>
          <a:p>
            <a:endParaRPr lang="en-US" sz="1000" b="0" i="0" kern="1200">
              <a:solidFill>
                <a:schemeClr val="tx1"/>
              </a:solidFill>
              <a:effectLst/>
              <a:latin typeface="Segoe UI Light" pitchFamily="34" charset="0"/>
              <a:ea typeface="+mn-ea"/>
              <a:cs typeface="+mn-cs"/>
            </a:endParaRPr>
          </a:p>
          <a:p>
            <a:endParaRPr lang="en-US" sz="1000" b="0" i="0" kern="1200">
              <a:solidFill>
                <a:schemeClr val="tx1"/>
              </a:solidFill>
              <a:effectLst/>
              <a:latin typeface="Segoe UI Light" pitchFamily="34" charset="0"/>
              <a:ea typeface="+mn-ea"/>
              <a:cs typeface="+mn-cs"/>
            </a:endParaRPr>
          </a:p>
        </p:txBody>
      </p:sp>
      <p:sp>
        <p:nvSpPr>
          <p:cNvPr id="4" name="Date Placeholder 3"/>
          <p:cNvSpPr>
            <a:spLocks noGrp="1"/>
          </p:cNvSpPr>
          <p:nvPr>
            <p:ph type="dt" idx="1"/>
          </p:nvPr>
        </p:nvSpPr>
        <p:spPr/>
        <p:txBody>
          <a:bodyPr/>
          <a:lstStyle/>
          <a:p>
            <a:fld id="{8A350F89-E12F-4E6A-B42A-11241798BFE5}" type="datetime1">
              <a:rPr lang="en-US"/>
              <a:t>3/2/2020</a:t>
            </a:fld>
            <a:endParaRPr lang="en-US"/>
          </a:p>
        </p:txBody>
      </p:sp>
    </p:spTree>
    <p:extLst>
      <p:ext uri="{BB962C8B-B14F-4D97-AF65-F5344CB8AC3E}">
        <p14:creationId xmlns:p14="http://schemas.microsoft.com/office/powerpoint/2010/main" val="17282433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38775558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8288830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87419747"/>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984062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62245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9450535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1173357496"/>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95865393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40973342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062561396"/>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345195137"/>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3371849812"/>
      </p:ext>
    </p:extLst>
  </p:cSld>
  <p:clrMapOvr>
    <a:masterClrMapping/>
  </p:clrMapOvr>
  <p:hf sldNum="0" hdr="0" ftr="0" dt="0"/>
</p:sldLayout>
</file>

<file path=ppt/slideLayouts/slideLayout2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50907311"/>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1790631"/>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30847378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32462454"/>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44623517"/>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47174637"/>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12909694"/>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85908119"/>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9993448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01182999"/>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66924124"/>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80970923"/>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4438367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32749724"/>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66184627"/>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91744639"/>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8556056"/>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50460315"/>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13723974"/>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500363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647045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586015782"/>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490404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0691629"/>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40070211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917180344"/>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075344650"/>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16="http://schemas.microsoft.com/office/drawing/2014/main" xmlns:a14="http://schemas.microsoft.com/office/drawing/2010/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73492308"/>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2242805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88364606"/>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91555808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8746101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s>
</file>

<file path=ppt/slideMasters/slideMaster1.xml><?xml version="1.0" encoding="utf-8"?>
<p:sldMaster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73179292"/>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hf sldNum="0" hdr="0" ftr="0" dt="0"/>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6.xml"/><Relationship Id="rId4" Type="http://schemas.openxmlformats.org/officeDocument/2006/relationships/image" Target="../media/image1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xml"/><Relationship Id="rId1" Type="http://schemas.openxmlformats.org/officeDocument/2006/relationships/tags" Target="../tags/tag17.xml"/><Relationship Id="rId4" Type="http://schemas.openxmlformats.org/officeDocument/2006/relationships/image" Target="../media/image18.bin"/></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9.xml"/><Relationship Id="rId4" Type="http://schemas.openxmlformats.org/officeDocument/2006/relationships/image" Target="../media/image25.bin"/></Relationships>
</file>

<file path=ppt/slides/_rels/slide15.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12.xml"/><Relationship Id="rId7" Type="http://schemas.openxmlformats.org/officeDocument/2006/relationships/diagramColors" Target="../diagrams/colors6.xml"/><Relationship Id="rId2" Type="http://schemas.openxmlformats.org/officeDocument/2006/relationships/slideLayout" Target="../slideLayouts/slideLayout9.xml"/><Relationship Id="rId1" Type="http://schemas.openxmlformats.org/officeDocument/2006/relationships/tags" Target="../tags/tag20.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1.xml"/><Relationship Id="rId1" Type="http://schemas.openxmlformats.org/officeDocument/2006/relationships/tags" Target="../tags/tag21.xml"/><Relationship Id="rId4" Type="http://schemas.openxmlformats.org/officeDocument/2006/relationships/image" Target="../media/image34.bin"/></Relationships>
</file>

<file path=ppt/slides/_rels/slide17.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14.xml"/><Relationship Id="rId7" Type="http://schemas.openxmlformats.org/officeDocument/2006/relationships/diagramColors" Target="../diagrams/colors7.xml"/><Relationship Id="rId2" Type="http://schemas.openxmlformats.org/officeDocument/2006/relationships/slideLayout" Target="../slideLayouts/slideLayout14.xml"/><Relationship Id="rId1" Type="http://schemas.openxmlformats.org/officeDocument/2006/relationships/tags" Target="../tags/tag22.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23.xml"/></Relationships>
</file>

<file path=ppt/slides/_rels/slide19.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6.xml"/><Relationship Id="rId7" Type="http://schemas.openxmlformats.org/officeDocument/2006/relationships/diagramColors" Target="../diagrams/colors8.xml"/><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25.xml"/><Relationship Id="rId4" Type="http://schemas.openxmlformats.org/officeDocument/2006/relationships/image" Target="../media/image41.bin"/></Relationships>
</file>

<file path=ppt/slides/_rels/slide21.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42.bin"/><Relationship Id="rId5" Type="http://schemas.openxmlformats.org/officeDocument/2006/relationships/notesSlide" Target="../notesSlides/notesSlide18.xml"/><Relationship Id="rId4"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notesSlide" Target="../notesSlides/notesSlide19.xml"/><Relationship Id="rId7" Type="http://schemas.openxmlformats.org/officeDocument/2006/relationships/diagramColors" Target="../diagrams/colors9.xml"/><Relationship Id="rId2" Type="http://schemas.openxmlformats.org/officeDocument/2006/relationships/slideLayout" Target="../slideLayouts/slideLayout8.xml"/><Relationship Id="rId1" Type="http://schemas.openxmlformats.org/officeDocument/2006/relationships/tags" Target="../tags/tag29.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notesSlide" Target="../notesSlides/notesSlide2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3.xml"/><Relationship Id="rId1" Type="http://schemas.openxmlformats.org/officeDocument/2006/relationships/tags" Target="../tags/tag32.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tags" Target="../tags/tag34.xml"/></Relationships>
</file>

<file path=ppt/slides/_rels/slide26.xml.rels><?xml version="1.0" encoding="UTF-8" standalone="yes"?>
<Relationships xmlns="http://schemas.openxmlformats.org/package/2006/relationships"><Relationship Id="rId3" Type="http://schemas.openxmlformats.org/officeDocument/2006/relationships/image" Target="../media/image43.bin"/><Relationship Id="rId2" Type="http://schemas.openxmlformats.org/officeDocument/2006/relationships/slideLayout" Target="../slideLayouts/slideLayout8.xml"/><Relationship Id="rId1" Type="http://schemas.openxmlformats.org/officeDocument/2006/relationships/tags" Target="../tags/tag35.xml"/></Relationships>
</file>

<file path=ppt/slides/_rels/slide27.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0.xml"/><Relationship Id="rId1" Type="http://schemas.openxmlformats.org/officeDocument/2006/relationships/tags" Target="../tags/tag39.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2.xml"/><Relationship Id="rId1" Type="http://schemas.openxmlformats.org/officeDocument/2006/relationships/tags" Target="../tags/tag4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8.xml"/></Relationships>
</file>

<file path=ppt/slides/_rels/slide30.xml.rels><?xml version="1.0" encoding="UTF-8" standalone="yes"?>
<Relationships xmlns="http://schemas.openxmlformats.org/package/2006/relationships"><Relationship Id="rId3" Type="http://schemas.openxmlformats.org/officeDocument/2006/relationships/image" Target="../media/image44.bin"/><Relationship Id="rId2" Type="http://schemas.openxmlformats.org/officeDocument/2006/relationships/slideLayout" Target="../slideLayouts/slideLayout21.xml"/><Relationship Id="rId1" Type="http://schemas.openxmlformats.org/officeDocument/2006/relationships/tags" Target="../tags/tag4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45.bin"/><Relationship Id="rId4" Type="http://schemas.openxmlformats.org/officeDocument/2006/relationships/notesSlide" Target="../notesSlides/notesSlide2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46.bin"/><Relationship Id="rId4" Type="http://schemas.openxmlformats.org/officeDocument/2006/relationships/notesSlide" Target="../notesSlides/notesSlide2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3.xml"/><Relationship Id="rId1" Type="http://schemas.openxmlformats.org/officeDocument/2006/relationships/tags" Target="../tags/tag4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6.xml"/><Relationship Id="rId1" Type="http://schemas.openxmlformats.org/officeDocument/2006/relationships/tags" Target="../tags/tag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10.xml"/><Relationship Id="rId4" Type="http://schemas.openxmlformats.org/officeDocument/2006/relationships/image" Target="../media/image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11.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7.xml"/><Relationship Id="rId7" Type="http://schemas.openxmlformats.org/officeDocument/2006/relationships/diagramColors" Target="../diagrams/colors1.xml"/><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8.xml"/><Relationship Id="rId1" Type="http://schemas.openxmlformats.org/officeDocument/2006/relationships/tags" Target="../tags/tag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8.xml"/><Relationship Id="rId7" Type="http://schemas.openxmlformats.org/officeDocument/2006/relationships/diagramColors" Target="../diagrams/colors3.xml"/><Relationship Id="rId2" Type="http://schemas.openxmlformats.org/officeDocument/2006/relationships/slideLayout" Target="../slideLayouts/slideLayout10.xml"/><Relationship Id="rId1" Type="http://schemas.openxmlformats.org/officeDocument/2006/relationships/tags" Target="../tags/tag14.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t>Git – Introduction</a:t>
            </a:r>
          </a:p>
        </p:txBody>
      </p:sp>
      <p:sp>
        <p:nvSpPr>
          <p:cNvPr id="2" name="Subtitle 1">
            <a:extLst>
              <a:ext uri="{FF2B5EF4-FFF2-40B4-BE49-F238E27FC236}">
                <a16:creationId xmlns:a16="http://schemas.microsoft.com/office/drawing/2014/main" id="{FC80376E-5E2F-4DA1-9554-8011941F0310}"/>
              </a:ext>
            </a:extLst>
          </p:cNvPr>
          <p:cNvSpPr>
            <a:spLocks noGrp="1"/>
          </p:cNvSpPr>
          <p:nvPr>
            <p:ph type="subTitle" idx="1"/>
          </p:nvPr>
        </p:nvSpPr>
        <p:spPr/>
        <p:txBody>
          <a:bodyPr>
            <a:normAutofit lnSpcReduction="10000"/>
          </a:bodyPr>
          <a:lstStyle/>
          <a:p>
            <a:r>
              <a:rPr lang="en-US"/>
              <a:t>Module 7</a:t>
            </a:r>
          </a:p>
        </p:txBody>
      </p:sp>
    </p:spTree>
    <p:custDataLst>
      <p:tags r:id="rId1"/>
    </p:custDataLst>
    <p:extLst>
      <p:ext uri="{BB962C8B-B14F-4D97-AF65-F5344CB8AC3E}">
        <p14:creationId xmlns:p14="http://schemas.microsoft.com/office/powerpoint/2010/main" val="1325058836"/>
      </p:ext>
    </p:extLst>
  </p:cSld>
  <p:clrMapOvr>
    <a:masterClrMapping/>
  </p:clrMapOvr>
  <p:transition spd="slow"/>
</p:sld>
</file>

<file path=ppt/slides/slide1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DC5CBE-6195-432A-906E-492F58991AD5}"/>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Source Control Management </a:t>
            </a:r>
          </a:p>
        </p:txBody>
      </p:sp>
      <p:graphicFrame>
        <p:nvGraphicFramePr>
          <p:cNvPr id="7" name="Text Placeholder 1">
            <a:extLst>
              <a:ext uri="{FF2B5EF4-FFF2-40B4-BE49-F238E27FC236}">
                <a16:creationId xmlns:a16="http://schemas.microsoft.com/office/drawing/2014/main" id="{335214FA-E89A-4D8E-A7CC-C1AA93FABED4}"/>
              </a:ext>
            </a:extLst>
          </p:cNvPr>
          <p:cNvGraphicFramePr>
            <a:graphicFrameLocks noGrp="1"/>
          </p:cNvGraphicFramePr>
          <p:nvPr>
            <p:ph sz="quarter" idx="13"/>
            <p:extLst>
              <p:ext uri="{D42A27DB-BD31-4B8C-83A1-F6EECF244321}">
                <p14:modId xmlns:p14="http://schemas.microsoft.com/office/powerpoint/2010/main" val="399432670"/>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950207328"/>
      </p:ext>
    </p:extLst>
  </p:cSld>
  <p:clrMapOvr>
    <a:masterClrMapping/>
  </p:clrMapOvr>
  <p:transition spd="slow"/>
</p:sld>
</file>

<file path=ppt/slides/slide1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DC5CBE-6195-432A-906E-492F58991AD5}"/>
              </a:ext>
            </a:extLst>
          </p:cNvPr>
          <p:cNvSpPr>
            <a:spLocks noGrp="1"/>
          </p:cNvSpPr>
          <p:nvPr>
            <p:ph type="title"/>
          </p:nvPr>
        </p:nvSpPr>
        <p:spPr/>
        <p:txBody>
          <a:bodyPr/>
          <a:lstStyle/>
          <a:p>
            <a:r>
              <a:rPr lang="en-US"/>
              <a:t>What is Git?</a:t>
            </a:r>
          </a:p>
        </p:txBody>
      </p:sp>
      <p:sp>
        <p:nvSpPr>
          <p:cNvPr id="2" name="Text Placeholder 1">
            <a:extLst>
              <a:ext uri="{FF2B5EF4-FFF2-40B4-BE49-F238E27FC236}">
                <a16:creationId xmlns:a16="http://schemas.microsoft.com/office/drawing/2014/main" id="{CA351760-77F7-4CB7-B399-51C1800687B0}"/>
              </a:ext>
            </a:extLst>
          </p:cNvPr>
          <p:cNvSpPr>
            <a:spLocks noGrp="1"/>
          </p:cNvSpPr>
          <p:nvPr>
            <p:ph sz="quarter" idx="13"/>
          </p:nvPr>
        </p:nvSpPr>
        <p:spPr/>
        <p:txBody>
          <a:bodyPr vert="horz" lIns="0" tIns="0" rIns="0" bIns="0" rtlCol="0" anchor="t">
            <a:normAutofit/>
          </a:bodyPr>
          <a:lstStyle/>
          <a:p>
            <a:pPr marL="310515" indent="-310515"/>
            <a:r>
              <a:rPr lang="en-US">
                <a:cs typeface="Segoe UI"/>
              </a:rPr>
              <a:t>Distributed version control system</a:t>
            </a:r>
          </a:p>
          <a:p>
            <a:pPr marL="310515" indent="-310515"/>
            <a:r>
              <a:rPr lang="en-US">
                <a:cs typeface="Segoe UI"/>
              </a:rPr>
              <a:t>Created in 2005 by Linus Torvalds</a:t>
            </a:r>
          </a:p>
          <a:p>
            <a:pPr marL="310515" indent="-310515"/>
            <a:r>
              <a:rPr lang="en-US">
                <a:cs typeface="Segoe UI"/>
              </a:rPr>
              <a:t>Lightweight and fast</a:t>
            </a:r>
          </a:p>
          <a:p>
            <a:pPr marL="310515" indent="-310515"/>
            <a:r>
              <a:rPr lang="en-US"/>
              <a:t>Supports parallel development (branching)</a:t>
            </a:r>
          </a:p>
          <a:p>
            <a:pPr marL="310515" indent="-310515"/>
            <a:r>
              <a:rPr lang="en-US">
                <a:cs typeface="Segoe UI"/>
              </a:rPr>
              <a:t>Fully distributed</a:t>
            </a:r>
          </a:p>
          <a:p>
            <a:pPr marL="310515" indent="-310515"/>
            <a:r>
              <a:rPr lang="en-US">
                <a:cs typeface="Segoe UI"/>
              </a:rPr>
              <a:t>Open Source</a:t>
            </a:r>
            <a:endParaRPr lang="en-US"/>
          </a:p>
          <a:p>
            <a:pPr marL="310515" indent="-310515"/>
            <a:r>
              <a:rPr lang="en-US"/>
              <a:t>Integrated with many Content Index (CI) tools </a:t>
            </a:r>
          </a:p>
          <a:p>
            <a:pPr marL="310515" indent="-310515"/>
            <a:endParaRPr lang="en-US"/>
          </a:p>
        </p:txBody>
      </p:sp>
      <p:pic>
        <p:nvPicPr>
          <p:cNvPr id="1028" name="Picture 4">
            <a:extLst>
              <a:ext uri="{FF2B5EF4-FFF2-40B4-BE49-F238E27FC236}">
                <a16:creationId xmlns:a16="http://schemas.microsoft.com/office/drawing/2014/main" id="{E8966518-FA0F-4A17-B0E0-F012A5A24A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40863" y="1408114"/>
            <a:ext cx="2095500" cy="8763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607193115"/>
      </p:ext>
    </p:extLst>
  </p:cSld>
  <p:clrMapOvr>
    <a:masterClrMapping/>
  </p:clrMapOvr>
  <p:transition spd="slow"/>
</p:sld>
</file>

<file path=ppt/slides/slide1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Git">
            <a:extLst>
              <a:ext uri="{FF2B5EF4-FFF2-40B4-BE49-F238E27FC236}">
                <a16:creationId xmlns:a16="http://schemas.microsoft.com/office/drawing/2014/main" id="{37A65A58-D985-4D05-B10D-C24BC3F424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91400" y="872304"/>
            <a:ext cx="3781425" cy="5477337"/>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61D1A100-F75C-4616-AECC-A1AC6434CA56}"/>
              </a:ext>
            </a:extLst>
          </p:cNvPr>
          <p:cNvSpPr>
            <a:spLocks noGrp="1"/>
          </p:cNvSpPr>
          <p:nvPr>
            <p:ph type="title"/>
          </p:nvPr>
        </p:nvSpPr>
        <p:spPr/>
        <p:txBody>
          <a:bodyPr/>
          <a:lstStyle/>
          <a:p>
            <a:r>
              <a:rPr lang="en-US"/>
              <a:t>Challenges of Git</a:t>
            </a:r>
          </a:p>
        </p:txBody>
      </p:sp>
      <p:sp>
        <p:nvSpPr>
          <p:cNvPr id="2" name="Text Placeholder 1">
            <a:extLst>
              <a:ext uri="{FF2B5EF4-FFF2-40B4-BE49-F238E27FC236}">
                <a16:creationId xmlns:a16="http://schemas.microsoft.com/office/drawing/2014/main" id="{1F69F004-0BEE-4271-8B30-858D795C4CE4}"/>
              </a:ext>
            </a:extLst>
          </p:cNvPr>
          <p:cNvSpPr>
            <a:spLocks noGrp="1"/>
          </p:cNvSpPr>
          <p:nvPr>
            <p:ph sz="quarter" idx="13"/>
          </p:nvPr>
        </p:nvSpPr>
        <p:spPr/>
        <p:txBody>
          <a:bodyPr/>
          <a:lstStyle/>
          <a:p>
            <a:r>
              <a:rPr lang="en-US"/>
              <a:t>New for many operational engineers</a:t>
            </a:r>
          </a:p>
          <a:p>
            <a:endParaRPr lang="en-US"/>
          </a:p>
          <a:p>
            <a:r>
              <a:rPr lang="en-US"/>
              <a:t>Command line based</a:t>
            </a:r>
          </a:p>
          <a:p>
            <a:endParaRPr lang="en-US"/>
          </a:p>
          <a:p>
            <a:r>
              <a:rPr lang="en-US"/>
              <a:t>What’s the point?</a:t>
            </a:r>
          </a:p>
          <a:p>
            <a:endParaRPr lang="en-US"/>
          </a:p>
          <a:p>
            <a:r>
              <a:rPr lang="en-US"/>
              <a:t>Afraid to use Git </a:t>
            </a:r>
          </a:p>
          <a:p>
            <a:pPr lvl="1"/>
            <a:r>
              <a:rPr lang="en-US"/>
              <a:t>New toolset</a:t>
            </a:r>
          </a:p>
          <a:p>
            <a:pPr lvl="1"/>
            <a:r>
              <a:rPr lang="en-US"/>
              <a:t>Very powerful (“Dangerous”)</a:t>
            </a:r>
          </a:p>
          <a:p>
            <a:pPr lvl="1"/>
            <a:r>
              <a:rPr lang="en-US"/>
              <a:t>Not user friendly</a:t>
            </a:r>
          </a:p>
          <a:p>
            <a:pPr lvl="1"/>
            <a:r>
              <a:rPr lang="en-US"/>
              <a:t>I don’t want to become a developer</a:t>
            </a:r>
          </a:p>
          <a:p>
            <a:pPr lvl="1"/>
            <a:endParaRPr lang="en-US"/>
          </a:p>
          <a:p>
            <a:endParaRPr lang="en-US"/>
          </a:p>
          <a:p>
            <a:pPr lvl="1"/>
            <a:endParaRPr lang="en-US"/>
          </a:p>
          <a:p>
            <a:pPr lvl="1"/>
            <a:endParaRPr lang="en-US"/>
          </a:p>
        </p:txBody>
      </p:sp>
    </p:spTree>
    <p:custDataLst>
      <p:tags r:id="rId1"/>
    </p:custDataLst>
    <p:extLst>
      <p:ext uri="{BB962C8B-B14F-4D97-AF65-F5344CB8AC3E}">
        <p14:creationId xmlns:p14="http://schemas.microsoft.com/office/powerpoint/2010/main" val="224205354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026"/>
                                        </p:tgtEl>
                                      </p:cBhvr>
                                    </p:animEffect>
                                    <p:set>
                                      <p:cBhvr>
                                        <p:cTn id="7" dur="1" fill="hold">
                                          <p:stCondLst>
                                            <p:cond delay="499"/>
                                          </p:stCondLst>
                                        </p:cTn>
                                        <p:tgtEl>
                                          <p:spTgt spid="102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2">
                                            <p:txEl>
                                              <p:pRg st="0" end="0"/>
                                            </p:txEl>
                                          </p:spTgt>
                                        </p:tgtEl>
                                        <p:attrNameLst>
                                          <p:attrName>style.visibility</p:attrName>
                                        </p:attrNameLst>
                                      </p:cBhvr>
                                      <p:to>
                                        <p:strVal val="visible"/>
                                      </p:to>
                                    </p:set>
                                    <p:animEffect transition="in" filter="fade">
                                      <p:cBhvr>
                                        <p:cTn id="10" dur="500"/>
                                        <p:tgtEl>
                                          <p:spTgt spid="2">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Effect transition="in" filter="fade">
                                      <p:cBhvr>
                                        <p:cTn id="15" dur="500"/>
                                        <p:tgtEl>
                                          <p:spTgt spid="2">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
                                            <p:txEl>
                                              <p:pRg st="4" end="4"/>
                                            </p:txEl>
                                          </p:spTgt>
                                        </p:tgtEl>
                                        <p:attrNameLst>
                                          <p:attrName>style.visibility</p:attrName>
                                        </p:attrNameLst>
                                      </p:cBhvr>
                                      <p:to>
                                        <p:strVal val="visible"/>
                                      </p:to>
                                    </p:set>
                                    <p:animEffect transition="in" filter="fade">
                                      <p:cBhvr>
                                        <p:cTn id="20" dur="500"/>
                                        <p:tgtEl>
                                          <p:spTgt spid="2">
                                            <p:txEl>
                                              <p:pRg st="4" end="4"/>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animEffect transition="in" filter="fade">
                                      <p:cBhvr>
                                        <p:cTn id="23" dur="500"/>
                                        <p:tgtEl>
                                          <p:spTgt spid="2">
                                            <p:txEl>
                                              <p:pRg st="6" end="6"/>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
                                            <p:txEl>
                                              <p:pRg st="7" end="7"/>
                                            </p:txEl>
                                          </p:spTgt>
                                        </p:tgtEl>
                                        <p:attrNameLst>
                                          <p:attrName>style.visibility</p:attrName>
                                        </p:attrNameLst>
                                      </p:cBhvr>
                                      <p:to>
                                        <p:strVal val="visible"/>
                                      </p:to>
                                    </p:set>
                                    <p:animEffect transition="in" filter="fade">
                                      <p:cBhvr>
                                        <p:cTn id="26" dur="500"/>
                                        <p:tgtEl>
                                          <p:spTgt spid="2">
                                            <p:txEl>
                                              <p:pRg st="7" end="7"/>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
                                            <p:txEl>
                                              <p:pRg st="8" end="8"/>
                                            </p:txEl>
                                          </p:spTgt>
                                        </p:tgtEl>
                                        <p:attrNameLst>
                                          <p:attrName>style.visibility</p:attrName>
                                        </p:attrNameLst>
                                      </p:cBhvr>
                                      <p:to>
                                        <p:strVal val="visible"/>
                                      </p:to>
                                    </p:set>
                                    <p:animEffect transition="in" filter="fade">
                                      <p:cBhvr>
                                        <p:cTn id="29" dur="500"/>
                                        <p:tgtEl>
                                          <p:spTgt spid="2">
                                            <p:txEl>
                                              <p:pRg st="8" end="8"/>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
                                            <p:txEl>
                                              <p:pRg st="9" end="9"/>
                                            </p:txEl>
                                          </p:spTgt>
                                        </p:tgtEl>
                                        <p:attrNameLst>
                                          <p:attrName>style.visibility</p:attrName>
                                        </p:attrNameLst>
                                      </p:cBhvr>
                                      <p:to>
                                        <p:strVal val="visible"/>
                                      </p:to>
                                    </p:set>
                                    <p:animEffect transition="in" filter="fade">
                                      <p:cBhvr>
                                        <p:cTn id="32" dur="500"/>
                                        <p:tgtEl>
                                          <p:spTgt spid="2">
                                            <p:txEl>
                                              <p:pRg st="9" end="9"/>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xEl>
                                              <p:pRg st="10" end="10"/>
                                            </p:txEl>
                                          </p:spTgt>
                                        </p:tgtEl>
                                        <p:attrNameLst>
                                          <p:attrName>style.visibility</p:attrName>
                                        </p:attrNameLst>
                                      </p:cBhvr>
                                      <p:to>
                                        <p:strVal val="visible"/>
                                      </p:to>
                                    </p:set>
                                    <p:animEffect transition="in" filter="fade">
                                      <p:cBhvr>
                                        <p:cTn id="35" dur="500"/>
                                        <p:tgtEl>
                                          <p:spTgt spid="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1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6F9ED8-0453-49BA-B48C-2EFE67F44D92}"/>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cs typeface="Segoe UI"/>
              </a:rPr>
              <a:t>Git Commits</a:t>
            </a:r>
            <a:endParaRPr lang="en-US"/>
          </a:p>
        </p:txBody>
      </p:sp>
      <p:graphicFrame>
        <p:nvGraphicFramePr>
          <p:cNvPr id="5" name="Text Placeholder 1">
            <a:extLst>
              <a:ext uri="{FF2B5EF4-FFF2-40B4-BE49-F238E27FC236}">
                <a16:creationId xmlns:a16="http://schemas.microsoft.com/office/drawing/2014/main" id="{00E7111A-4645-4771-AAB5-235774A54A94}"/>
              </a:ext>
            </a:extLst>
          </p:cNvPr>
          <p:cNvGraphicFramePr>
            <a:graphicFrameLocks noGrp="1"/>
          </p:cNvGraphicFramePr>
          <p:nvPr>
            <p:ph sz="quarter" idx="13"/>
            <p:extLst>
              <p:ext uri="{D42A27DB-BD31-4B8C-83A1-F6EECF244321}">
                <p14:modId xmlns:p14="http://schemas.microsoft.com/office/powerpoint/2010/main" val="317975170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2859581686"/>
      </p:ext>
    </p:extLst>
  </p:cSld>
  <p:clrMapOvr>
    <a:masterClrMapping/>
  </p:clrMapOvr>
  <p:transition spd="slow"/>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31F800-FEA1-4B03-A95B-91CF17F9B1EC}"/>
              </a:ext>
            </a:extLst>
          </p:cNvPr>
          <p:cNvSpPr>
            <a:spLocks noGrp="1"/>
          </p:cNvSpPr>
          <p:nvPr>
            <p:ph type="title"/>
          </p:nvPr>
        </p:nvSpPr>
        <p:spPr/>
        <p:txBody>
          <a:bodyPr/>
          <a:lstStyle/>
          <a:p>
            <a:r>
              <a:rPr lang="en-US">
                <a:cs typeface="Segoe UI"/>
              </a:rPr>
              <a:t>Git Setup</a:t>
            </a:r>
            <a:endParaRPr lang="en-US"/>
          </a:p>
        </p:txBody>
      </p:sp>
      <p:sp>
        <p:nvSpPr>
          <p:cNvPr id="2" name="Content Placeholder 1">
            <a:extLst>
              <a:ext uri="{FF2B5EF4-FFF2-40B4-BE49-F238E27FC236}">
                <a16:creationId xmlns:a16="http://schemas.microsoft.com/office/drawing/2014/main" id="{8080AD67-F508-4AAA-8DCA-1B988B337A0F}"/>
              </a:ext>
            </a:extLst>
          </p:cNvPr>
          <p:cNvSpPr>
            <a:spLocks noGrp="1"/>
          </p:cNvSpPr>
          <p:nvPr>
            <p:ph sz="quarter" idx="13"/>
          </p:nvPr>
        </p:nvSpPr>
        <p:spPr/>
        <p:txBody>
          <a:bodyPr vert="horz" lIns="0" tIns="0" rIns="0" bIns="0" rtlCol="0" anchor="t">
            <a:normAutofit/>
          </a:bodyPr>
          <a:lstStyle/>
          <a:p>
            <a:pPr marL="0" indent="0">
              <a:buNone/>
            </a:pPr>
            <a:r>
              <a:rPr lang="en-US">
                <a:cs typeface="Segoe UI"/>
              </a:rPr>
              <a:t>Clone</a:t>
            </a:r>
          </a:p>
          <a:p>
            <a:pPr marL="310515" indent="-310515"/>
            <a:r>
              <a:rPr lang="en-US">
                <a:cs typeface="Segoe UI"/>
              </a:rPr>
              <a:t>Create a new local repository to clone data into</a:t>
            </a:r>
          </a:p>
          <a:p>
            <a:pPr marL="310515" indent="-310515"/>
            <a:r>
              <a:rPr lang="en-US">
                <a:cs typeface="Segoe UI"/>
              </a:rPr>
              <a:t>Copy existing repository to clone location</a:t>
            </a:r>
          </a:p>
          <a:p>
            <a:pPr marL="310515" indent="-310515"/>
            <a:r>
              <a:rPr lang="en-US">
                <a:cs typeface="Segoe UI"/>
              </a:rPr>
              <a:t>Adds .git folder</a:t>
            </a:r>
          </a:p>
          <a:p>
            <a:pPr marL="310515" indent="-310515"/>
            <a:r>
              <a:rPr lang="en-US">
                <a:cs typeface="Segoe UI"/>
              </a:rPr>
              <a:t>Adds remote origin</a:t>
            </a:r>
          </a:p>
          <a:p>
            <a:pPr marL="310515" indent="-310515"/>
            <a:r>
              <a:rPr lang="en-US">
                <a:cs typeface="Segoe UI"/>
              </a:rPr>
              <a:t>Run with: </a:t>
            </a:r>
            <a:r>
              <a:rPr lang="en-US" i="1">
                <a:ea typeface="+mn-lt"/>
                <a:cs typeface="+mn-lt"/>
              </a:rPr>
              <a:t>git clone </a:t>
            </a:r>
            <a:r>
              <a:rPr lang="en-US" i="1" err="1">
                <a:ea typeface="+mn-lt"/>
                <a:cs typeface="+mn-lt"/>
              </a:rPr>
              <a:t>ssh_url</a:t>
            </a:r>
            <a:endParaRPr lang="en-US" i="1">
              <a:ea typeface="+mn-lt"/>
              <a:cs typeface="+mn-lt"/>
            </a:endParaRPr>
          </a:p>
          <a:p>
            <a:pPr marL="310515" indent="-310515"/>
            <a:endParaRPr lang="en-US"/>
          </a:p>
        </p:txBody>
      </p:sp>
      <p:pic>
        <p:nvPicPr>
          <p:cNvPr id="4" name="Picture 3">
            <a:extLst>
              <a:ext uri="{FF2B5EF4-FFF2-40B4-BE49-F238E27FC236}">
                <a16:creationId xmlns:a16="http://schemas.microsoft.com/office/drawing/2014/main" id="{837E9548-61DE-49D7-8F7E-44D769CFD2AE}"/>
              </a:ext>
            </a:extLst>
          </p:cNvPr>
          <p:cNvPicPr>
            <a:picLocks noChangeAspect="1"/>
          </p:cNvPicPr>
          <p:nvPr/>
        </p:nvPicPr>
        <p:blipFill>
          <a:blip r:embed="rId4"/>
          <a:stretch>
            <a:fillRect/>
          </a:stretch>
        </p:blipFill>
        <p:spPr>
          <a:xfrm>
            <a:off x="762000" y="4876800"/>
            <a:ext cx="10534801" cy="902286"/>
          </a:xfrm>
          <a:prstGeom prst="rect">
            <a:avLst/>
          </a:prstGeom>
        </p:spPr>
      </p:pic>
    </p:spTree>
    <p:custDataLst>
      <p:tags r:id="rId1"/>
    </p:custDataLst>
    <p:extLst>
      <p:ext uri="{BB962C8B-B14F-4D97-AF65-F5344CB8AC3E}">
        <p14:creationId xmlns:p14="http://schemas.microsoft.com/office/powerpoint/2010/main" val="2554072163"/>
      </p:ext>
    </p:extLst>
  </p:cSld>
  <p:clrMapOvr>
    <a:masterClrMapping/>
  </p:clrMapOvr>
  <p:transition spd="slow"/>
</p:sld>
</file>

<file path=ppt/slides/slide1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CFA6356-1738-439B-8697-F2AF85A7CE59}"/>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cs typeface="Segoe UI"/>
              </a:rPr>
              <a:t>Git Structure</a:t>
            </a:r>
            <a:endParaRPr lang="en-US"/>
          </a:p>
        </p:txBody>
      </p:sp>
      <p:sp>
        <p:nvSpPr>
          <p:cNvPr id="13" name="Subtitle 2">
            <a:extLst>
              <a:ext uri="{FF2B5EF4-FFF2-40B4-BE49-F238E27FC236}">
                <a16:creationId xmlns:a16="http://schemas.microsoft.com/office/drawing/2014/main" id="{FA8B1741-34CA-42CD-A633-BD00FBD3EFF4}"/>
              </a:ext>
            </a:extLst>
          </p:cNvPr>
          <p:cNvSpPr>
            <a:spLocks noGrp="1"/>
          </p:cNvSpPr>
          <p:nvPr>
            <p:ph type="subTitle" idx="1"/>
          </p:nvPr>
        </p:nvSpPr>
        <p:spPr/>
        <p:txBody>
          <a:bodyPr/>
          <a:lstStyle/>
          <a:p>
            <a:endParaRPr lang="en-US"/>
          </a:p>
        </p:txBody>
      </p:sp>
      <p:graphicFrame>
        <p:nvGraphicFramePr>
          <p:cNvPr id="8" name="Text Placeholder 5">
            <a:extLst>
              <a:ext uri="{FF2B5EF4-FFF2-40B4-BE49-F238E27FC236}">
                <a16:creationId xmlns:a16="http://schemas.microsoft.com/office/drawing/2014/main" id="{7266FA00-3369-4C10-8318-7A1CF1411BEC}"/>
              </a:ext>
            </a:extLst>
          </p:cNvPr>
          <p:cNvGraphicFramePr/>
          <p:nvPr>
            <p:extLst>
              <p:ext uri="{D42A27DB-BD31-4B8C-83A1-F6EECF244321}">
                <p14:modId xmlns:p14="http://schemas.microsoft.com/office/powerpoint/2010/main" val="3961350254"/>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902849928"/>
      </p:ext>
    </p:extLst>
  </p:cSld>
  <p:clrMapOvr>
    <a:masterClrMapping/>
  </p:clrMapOvr>
  <p:transition spd="slow"/>
</p:sld>
</file>

<file path=ppt/slides/slide1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CFA6356-1738-439B-8697-F2AF85A7CE59}"/>
              </a:ext>
            </a:extLst>
          </p:cNvPr>
          <p:cNvSpPr>
            <a:spLocks noGrp="1"/>
          </p:cNvSpPr>
          <p:nvPr>
            <p:ph type="title"/>
          </p:nvPr>
        </p:nvSpPr>
        <p:spPr>
          <a:prstGeom prst="rect">
            <a:avLst/>
          </a:prstGeom>
          <a:ln>
            <a:noFill/>
          </a:ln>
        </p:spPr>
        <p:txBody>
          <a:bodyPr wrap="square" anchor="t">
            <a:normAutofit/>
          </a:bodyPr>
          <a:lstStyle/>
          <a:p>
            <a:r>
              <a:rPr lang="en-US">
                <a:cs typeface="Segoe UI"/>
              </a:rPr>
              <a:t>Git Layers</a:t>
            </a:r>
            <a:endParaRPr lang="en-US"/>
          </a:p>
        </p:txBody>
      </p:sp>
      <p:sp>
        <p:nvSpPr>
          <p:cNvPr id="6" name="Text Placeholder 5">
            <a:extLst>
              <a:ext uri="{FF2B5EF4-FFF2-40B4-BE49-F238E27FC236}">
                <a16:creationId xmlns:a16="http://schemas.microsoft.com/office/drawing/2014/main" id="{C7E6B5DD-4A68-4CE7-83FD-7559E43F4A44}"/>
              </a:ext>
            </a:extLst>
          </p:cNvPr>
          <p:cNvSpPr>
            <a:spLocks noGrp="1"/>
          </p:cNvSpPr>
          <p:nvPr>
            <p:ph type="body" sz="quarter" idx="16"/>
          </p:nvPr>
        </p:nvSpPr>
        <p:spPr>
          <a:xfrm>
            <a:off x="655320" y="1541978"/>
            <a:ext cx="4352925" cy="4819650"/>
          </a:xfrm>
          <a:prstGeom prst="rect">
            <a:avLst/>
          </a:prstGeom>
        </p:spPr>
        <p:txBody>
          <a:bodyPr vert="horz" lIns="0" tIns="0" rIns="0" bIns="0" rtlCol="0" anchor="t">
            <a:normAutofit/>
          </a:bodyPr>
          <a:lstStyle/>
          <a:p>
            <a:r>
              <a:rPr lang="en-US">
                <a:cs typeface="Segoe UI"/>
              </a:rPr>
              <a:t>Three stages to track changes:</a:t>
            </a:r>
          </a:p>
          <a:p>
            <a:endParaRPr lang="en-US">
              <a:cs typeface="Segoe UI"/>
            </a:endParaRPr>
          </a:p>
          <a:p>
            <a:pPr marL="457200" indent="-457200">
              <a:buAutoNum type="arabicPeriod"/>
            </a:pPr>
            <a:r>
              <a:rPr lang="en-US">
                <a:cs typeface="Segoe UI"/>
              </a:rPr>
              <a:t>Working directory</a:t>
            </a:r>
          </a:p>
          <a:p>
            <a:pPr marL="457200" indent="-457200">
              <a:buAutoNum type="arabicPeriod"/>
            </a:pPr>
            <a:endParaRPr lang="en-US">
              <a:cs typeface="Segoe UI"/>
            </a:endParaRPr>
          </a:p>
          <a:p>
            <a:pPr marL="457200" indent="-457200">
              <a:buAutoNum type="arabicPeriod"/>
            </a:pPr>
            <a:r>
              <a:rPr lang="en-US">
                <a:cs typeface="Segoe UI"/>
              </a:rPr>
              <a:t>Index/staging</a:t>
            </a:r>
          </a:p>
          <a:p>
            <a:pPr marL="457200" indent="-457200">
              <a:buAutoNum type="arabicPeriod"/>
            </a:pPr>
            <a:endParaRPr lang="en-US">
              <a:cs typeface="Segoe UI"/>
            </a:endParaRPr>
          </a:p>
          <a:p>
            <a:pPr marL="457200" indent="-457200">
              <a:buAutoNum type="arabicPeriod"/>
            </a:pPr>
            <a:r>
              <a:rPr lang="en-US">
                <a:cs typeface="Segoe UI"/>
              </a:rPr>
              <a:t>HEAD</a:t>
            </a:r>
          </a:p>
        </p:txBody>
      </p:sp>
      <p:pic>
        <p:nvPicPr>
          <p:cNvPr id="1026" name="Picture 2" descr="Working tree, staging area, and Git directory.">
            <a:extLst>
              <a:ext uri="{FF2B5EF4-FFF2-40B4-BE49-F238E27FC236}">
                <a16:creationId xmlns:a16="http://schemas.microsoft.com/office/drawing/2014/main" id="{DE67389A-9E4A-489B-AB95-C11E9698B3E5}"/>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333682" y="1538764"/>
            <a:ext cx="6858000" cy="3780472"/>
          </a:xfrm>
          <a:prstGeom prst="rect">
            <a:avLst/>
          </a:prstGeom>
          <a:solidFill>
            <a:srgbClr val="FFFFFF"/>
          </a:solidFill>
        </p:spPr>
      </p:pic>
    </p:spTree>
    <p:custDataLst>
      <p:tags r:id="rId1"/>
    </p:custDataLst>
    <p:extLst>
      <p:ext uri="{BB962C8B-B14F-4D97-AF65-F5344CB8AC3E}">
        <p14:creationId xmlns:p14="http://schemas.microsoft.com/office/powerpoint/2010/main" val="639807795"/>
      </p:ext>
    </p:extLst>
  </p:cSld>
  <p:clrMapOvr>
    <a:masterClrMapping/>
  </p:clrMapOvr>
  <p:transition spd="slow"/>
</p:sld>
</file>

<file path=ppt/slides/slide1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314E96-35BC-448B-B343-28C1A42CB2B5}"/>
              </a:ext>
            </a:extLst>
          </p:cNvPr>
          <p:cNvSpPr>
            <a:spLocks noGrp="1"/>
          </p:cNvSpPr>
          <p:nvPr>
            <p:ph type="title"/>
          </p:nvPr>
        </p:nvSpPr>
        <p:spPr/>
        <p:txBody>
          <a:bodyPr/>
          <a:lstStyle/>
          <a:p>
            <a:r>
              <a:rPr lang="en-US">
                <a:cs typeface="Segoe UI"/>
              </a:rPr>
              <a:t>Git Process</a:t>
            </a:r>
            <a:endParaRPr lang="en-US"/>
          </a:p>
        </p:txBody>
      </p:sp>
      <p:graphicFrame>
        <p:nvGraphicFramePr>
          <p:cNvPr id="4" name="Diagram 3">
            <a:extLst>
              <a:ext uri="{FF2B5EF4-FFF2-40B4-BE49-F238E27FC236}">
                <a16:creationId xmlns:a16="http://schemas.microsoft.com/office/drawing/2014/main" id="{9C3E892E-8A70-4532-8141-070D92C4F182}"/>
              </a:ext>
            </a:extLst>
          </p:cNvPr>
          <p:cNvGraphicFramePr/>
          <p:nvPr>
            <p:extLst>
              <p:ext uri="{D42A27DB-BD31-4B8C-83A1-F6EECF244321}">
                <p14:modId xmlns:p14="http://schemas.microsoft.com/office/powerpoint/2010/main" val="309346819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19536936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1200"/>
                                  </p:stCondLst>
                                  <p:childTnLst>
                                    <p:set>
                                      <p:cBhvr>
                                        <p:cTn id="6" dur="1" fill="hold">
                                          <p:stCondLst>
                                            <p:cond delay="0"/>
                                          </p:stCondLst>
                                        </p:cTn>
                                        <p:tgtEl>
                                          <p:spTgt spid="4">
                                            <p:graphicEl>
                                              <a:dgm id="{E1D442E6-50DE-42B6-B90C-5C2C51011D23}"/>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1200"/>
                                  </p:stCondLst>
                                  <p:childTnLst>
                                    <p:set>
                                      <p:cBhvr>
                                        <p:cTn id="10" dur="1" fill="hold">
                                          <p:stCondLst>
                                            <p:cond delay="0"/>
                                          </p:stCondLst>
                                        </p:cTn>
                                        <p:tgtEl>
                                          <p:spTgt spid="4">
                                            <p:graphicEl>
                                              <a:dgm id="{3882616B-A82E-474A-BEAD-C7E94A589992}"/>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1200"/>
                                  </p:stCondLst>
                                  <p:childTnLst>
                                    <p:set>
                                      <p:cBhvr>
                                        <p:cTn id="14" dur="1" fill="hold">
                                          <p:stCondLst>
                                            <p:cond delay="0"/>
                                          </p:stCondLst>
                                        </p:cTn>
                                        <p:tgtEl>
                                          <p:spTgt spid="4">
                                            <p:graphicEl>
                                              <a:dgm id="{CDB9AC5A-1499-44E3-9A89-B7F7D8C924C1}"/>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1200"/>
                                  </p:stCondLst>
                                  <p:childTnLst>
                                    <p:set>
                                      <p:cBhvr>
                                        <p:cTn id="18" dur="1" fill="hold">
                                          <p:stCondLst>
                                            <p:cond delay="0"/>
                                          </p:stCondLst>
                                        </p:cTn>
                                        <p:tgtEl>
                                          <p:spTgt spid="4">
                                            <p:graphicEl>
                                              <a:dgm id="{10DD6BAD-64EC-4FED-A093-E47B3435FEB8}"/>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1200"/>
                                  </p:stCondLst>
                                  <p:childTnLst>
                                    <p:set>
                                      <p:cBhvr>
                                        <p:cTn id="22" dur="1" fill="hold">
                                          <p:stCondLst>
                                            <p:cond delay="0"/>
                                          </p:stCondLst>
                                        </p:cTn>
                                        <p:tgtEl>
                                          <p:spTgt spid="4">
                                            <p:graphicEl>
                                              <a:dgm id="{4C1F17AB-C49A-4053-9EDC-615D8389E1F5}"/>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1200"/>
                                  </p:stCondLst>
                                  <p:childTnLst>
                                    <p:set>
                                      <p:cBhvr>
                                        <p:cTn id="26" dur="1" fill="hold">
                                          <p:stCondLst>
                                            <p:cond delay="0"/>
                                          </p:stCondLst>
                                        </p:cTn>
                                        <p:tgtEl>
                                          <p:spTgt spid="4">
                                            <p:graphicEl>
                                              <a:dgm id="{E387BFBC-C63C-4A0A-83FF-5C6BD40FE0AD}"/>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1200"/>
                                  </p:stCondLst>
                                  <p:childTnLst>
                                    <p:set>
                                      <p:cBhvr>
                                        <p:cTn id="30" dur="1" fill="hold">
                                          <p:stCondLst>
                                            <p:cond delay="0"/>
                                          </p:stCondLst>
                                        </p:cTn>
                                        <p:tgtEl>
                                          <p:spTgt spid="4">
                                            <p:graphicEl>
                                              <a:dgm id="{5C44622F-2F88-4BA9-9BB1-D6951CE35127}"/>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1200"/>
                                  </p:stCondLst>
                                  <p:childTnLst>
                                    <p:set>
                                      <p:cBhvr>
                                        <p:cTn id="34" dur="1" fill="hold">
                                          <p:stCondLst>
                                            <p:cond delay="0"/>
                                          </p:stCondLst>
                                        </p:cTn>
                                        <p:tgtEl>
                                          <p:spTgt spid="4">
                                            <p:graphicEl>
                                              <a:dgm id="{F8A5E368-4C95-4EC5-860C-BBD97D923610}"/>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18.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cs typeface="Segoe UI"/>
              </a:rPr>
              <a:t>Logging into a Git Repository</a:t>
            </a:r>
            <a:endParaRPr lang="en-US"/>
          </a:p>
        </p:txBody>
      </p:sp>
    </p:spTree>
    <p:custDataLst>
      <p:tags r:id="rId1"/>
    </p:custDataLst>
    <p:extLst>
      <p:ext uri="{BB962C8B-B14F-4D97-AF65-F5344CB8AC3E}">
        <p14:creationId xmlns:p14="http://schemas.microsoft.com/office/powerpoint/2010/main" val="1515139851"/>
      </p:ext>
    </p:extLst>
  </p:cSld>
  <p:clrMapOvr>
    <a:masterClrMapping/>
  </p:clrMapOvr>
  <p:transition spd="slow"/>
</p:sld>
</file>

<file path=ppt/slides/slide1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8B9A09-4177-462E-9B5C-328B2F3F0978}"/>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Repositories</a:t>
            </a:r>
          </a:p>
        </p:txBody>
      </p:sp>
      <p:graphicFrame>
        <p:nvGraphicFramePr>
          <p:cNvPr id="9" name="Text Placeholder 4">
            <a:extLst>
              <a:ext uri="{FF2B5EF4-FFF2-40B4-BE49-F238E27FC236}">
                <a16:creationId xmlns:a16="http://schemas.microsoft.com/office/drawing/2014/main" id="{4E15B5D6-0673-4365-B6C9-E2855129C6C1}"/>
              </a:ext>
            </a:extLst>
          </p:cNvPr>
          <p:cNvGraphicFramePr>
            <a:graphicFrameLocks noGrp="1"/>
          </p:cNvGraphicFramePr>
          <p:nvPr>
            <p:ph sz="quarter" idx="13"/>
            <p:extLst>
              <p:ext uri="{D42A27DB-BD31-4B8C-83A1-F6EECF244321}">
                <p14:modId xmlns:p14="http://schemas.microsoft.com/office/powerpoint/2010/main" val="311541816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76716089"/>
      </p:ext>
    </p:extLst>
  </p:cSld>
  <p:clrMapOvr>
    <a:masterClrMapping/>
  </p:clrMapOvr>
  <p:transition spd="slow"/>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076368552"/>
      </p:ext>
    </p:extLst>
  </p:cSld>
  <p:clrMapOvr>
    <a:masterClrMapping/>
  </p:clrMapOvr>
  <p:transition spd="slow"/>
</p:sld>
</file>

<file path=ppt/slides/slide2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31D910-BF65-4334-86F7-1974FCC7F7BF}"/>
              </a:ext>
            </a:extLst>
          </p:cNvPr>
          <p:cNvSpPr>
            <a:spLocks noGrp="1"/>
          </p:cNvSpPr>
          <p:nvPr>
            <p:ph type="title"/>
          </p:nvPr>
        </p:nvSpPr>
        <p:spPr/>
        <p:txBody>
          <a:bodyPr/>
          <a:lstStyle/>
          <a:p>
            <a:r>
              <a:rPr lang="en-US"/>
              <a:t>Git vs. GitHub</a:t>
            </a:r>
          </a:p>
        </p:txBody>
      </p:sp>
      <p:sp>
        <p:nvSpPr>
          <p:cNvPr id="2" name="Text Placeholder 1">
            <a:extLst>
              <a:ext uri="{FF2B5EF4-FFF2-40B4-BE49-F238E27FC236}">
                <a16:creationId xmlns:a16="http://schemas.microsoft.com/office/drawing/2014/main" id="{3B828046-E1F1-46BE-A60D-3CD0251A4663}"/>
              </a:ext>
            </a:extLst>
          </p:cNvPr>
          <p:cNvSpPr>
            <a:spLocks noGrp="1"/>
          </p:cNvSpPr>
          <p:nvPr>
            <p:ph sz="quarter" idx="13"/>
          </p:nvPr>
        </p:nvSpPr>
        <p:spPr/>
        <p:txBody>
          <a:bodyPr vert="horz" lIns="0" tIns="0" rIns="0" bIns="0" rtlCol="0" anchor="t">
            <a:normAutofit/>
          </a:bodyPr>
          <a:lstStyle/>
          <a:p>
            <a:pPr marL="310515" indent="-310515"/>
            <a:r>
              <a:rPr lang="en-US" b="1">
                <a:cs typeface="Segoe UI"/>
              </a:rPr>
              <a:t>Git</a:t>
            </a:r>
            <a:r>
              <a:rPr lang="en-US">
                <a:cs typeface="Segoe UI"/>
              </a:rPr>
              <a:t>: a revision control system, a tool to manage your source code history</a:t>
            </a:r>
          </a:p>
          <a:p>
            <a:pPr marL="310515" indent="-310515"/>
            <a:endParaRPr lang="en-US"/>
          </a:p>
          <a:p>
            <a:pPr marL="310515" indent="-310515"/>
            <a:r>
              <a:rPr lang="en-US" b="1">
                <a:cs typeface="Segoe UI"/>
              </a:rPr>
              <a:t>GitHub</a:t>
            </a:r>
            <a:r>
              <a:rPr lang="en-US">
                <a:cs typeface="Segoe UI"/>
              </a:rPr>
              <a:t>: a hosting service for Git repositories, only stores code</a:t>
            </a:r>
          </a:p>
          <a:p>
            <a:pPr marL="310515" indent="-310515"/>
            <a:endParaRPr lang="en-US"/>
          </a:p>
          <a:p>
            <a:pPr marL="310515" indent="-310515"/>
            <a:endParaRPr lang="en-US"/>
          </a:p>
        </p:txBody>
      </p:sp>
      <p:pic>
        <p:nvPicPr>
          <p:cNvPr id="1026" name="Picture 2" descr="Image result for git vs github">
            <a:extLst>
              <a:ext uri="{FF2B5EF4-FFF2-40B4-BE49-F238E27FC236}">
                <a16:creationId xmlns:a16="http://schemas.microsoft.com/office/drawing/2014/main" id="{EDD14276-1D96-4136-965C-B72A0EAFD0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9503" y="3432810"/>
            <a:ext cx="6832994" cy="322517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18951384"/>
      </p:ext>
    </p:extLst>
  </p:cSld>
  <p:clrMapOvr>
    <a:masterClrMapping/>
  </p:clrMapOvr>
  <p:transition spd="slow"/>
</p:sld>
</file>

<file path=ppt/slides/slide2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D49840B-89BE-4CBD-A9FE-20925D610AB6}"/>
              </a:ext>
            </a:extLst>
          </p:cNvPr>
          <p:cNvSpPr>
            <a:spLocks noGrp="1"/>
          </p:cNvSpPr>
          <p:nvPr>
            <p:ph type="title"/>
          </p:nvPr>
        </p:nvSpPr>
        <p:spPr/>
        <p:txBody>
          <a:bodyPr/>
          <a:lstStyle/>
          <a:p>
            <a:r>
              <a:rPr lang="en-US">
                <a:cs typeface="Segoe UI"/>
              </a:rPr>
              <a:t>Create Repository</a:t>
            </a:r>
            <a:endParaRPr lang="en-US"/>
          </a:p>
        </p:txBody>
      </p:sp>
      <p:sp>
        <p:nvSpPr>
          <p:cNvPr id="2" name="Text Placeholder 1">
            <a:extLst>
              <a:ext uri="{FF2B5EF4-FFF2-40B4-BE49-F238E27FC236}">
                <a16:creationId xmlns:a16="http://schemas.microsoft.com/office/drawing/2014/main" id="{98035AD3-7E39-4EED-8849-565DFE5D2B03}"/>
              </a:ext>
            </a:extLst>
          </p:cNvPr>
          <p:cNvSpPr>
            <a:spLocks noGrp="1"/>
          </p:cNvSpPr>
          <p:nvPr>
            <p:ph sz="quarter" idx="13"/>
          </p:nvPr>
        </p:nvSpPr>
        <p:spPr/>
        <p:txBody>
          <a:bodyPr vert="horz" lIns="0" tIns="0" rIns="0" bIns="0" rtlCol="0" anchor="t">
            <a:normAutofit/>
          </a:bodyPr>
          <a:lstStyle/>
          <a:p>
            <a:pPr marL="310515" indent="-310515"/>
            <a:r>
              <a:rPr lang="en-US" b="1">
                <a:cs typeface="Segoe UI"/>
              </a:rPr>
              <a:t>Create New</a:t>
            </a:r>
            <a:r>
              <a:rPr lang="en-US">
                <a:cs typeface="Segoe UI"/>
              </a:rPr>
              <a:t> – </a:t>
            </a:r>
            <a:r>
              <a:rPr lang="en-US" i="1">
                <a:cs typeface="Segoe UI"/>
              </a:rPr>
              <a:t>git </a:t>
            </a:r>
            <a:r>
              <a:rPr lang="en-US" i="1" err="1">
                <a:cs typeface="Segoe UI"/>
              </a:rPr>
              <a:t>init</a:t>
            </a:r>
            <a:r>
              <a:rPr lang="en-US" i="1">
                <a:cs typeface="Segoe UI"/>
              </a:rPr>
              <a:t> &lt;</a:t>
            </a:r>
            <a:r>
              <a:rPr lang="en-US" i="1" err="1">
                <a:cs typeface="Segoe UI"/>
              </a:rPr>
              <a:t>RepositoryName</a:t>
            </a:r>
            <a:r>
              <a:rPr lang="en-US" i="1">
                <a:cs typeface="Segoe UI"/>
              </a:rPr>
              <a:t>&gt;</a:t>
            </a:r>
          </a:p>
          <a:p>
            <a:pPr marL="310515" indent="-310515"/>
            <a:endParaRPr lang="en-US" i="1"/>
          </a:p>
          <a:p>
            <a:pPr marL="310515" indent="-310515"/>
            <a:endParaRPr lang="en-US"/>
          </a:p>
          <a:p>
            <a:pPr marL="310515" indent="-310515"/>
            <a:r>
              <a:rPr lang="en-US" b="1">
                <a:cs typeface="Segoe UI"/>
              </a:rPr>
              <a:t>Clone from another location</a:t>
            </a:r>
            <a:r>
              <a:rPr lang="en-US">
                <a:cs typeface="Segoe UI"/>
              </a:rPr>
              <a:t> – </a:t>
            </a:r>
            <a:r>
              <a:rPr lang="en-US" i="1">
                <a:cs typeface="Segoe UI"/>
              </a:rPr>
              <a:t>git clone &lt;location .git&gt;</a:t>
            </a:r>
          </a:p>
          <a:p>
            <a:pPr marL="310515" indent="-310515"/>
            <a:endParaRPr lang="en-US"/>
          </a:p>
          <a:p>
            <a:pPr marL="310515" indent="-310515"/>
            <a:endParaRPr lang="en-US"/>
          </a:p>
          <a:p>
            <a:pPr marL="310515" indent="-310515"/>
            <a:r>
              <a:rPr lang="en-US">
                <a:cs typeface="Segoe UI"/>
              </a:rPr>
              <a:t>A local copy of source files is available</a:t>
            </a:r>
          </a:p>
        </p:txBody>
      </p:sp>
      <p:pic>
        <p:nvPicPr>
          <p:cNvPr id="6" name="Picture 5">
            <a:extLst>
              <a:ext uri="{FF2B5EF4-FFF2-40B4-BE49-F238E27FC236}">
                <a16:creationId xmlns:a16="http://schemas.microsoft.com/office/drawing/2014/main" id="{DD695349-EC40-45D3-A24D-DD5CB293C1B2}"/>
              </a:ext>
            </a:extLst>
          </p:cNvPr>
          <p:cNvPicPr>
            <a:picLocks noChangeAspect="1"/>
          </p:cNvPicPr>
          <p:nvPr/>
        </p:nvPicPr>
        <p:blipFill>
          <a:blip r:embed="rId6"/>
          <a:stretch>
            <a:fillRect/>
          </a:stretch>
        </p:blipFill>
        <p:spPr>
          <a:xfrm>
            <a:off x="948596" y="4522573"/>
            <a:ext cx="9496982" cy="852937"/>
          </a:xfrm>
          <a:prstGeom prst="rect">
            <a:avLst/>
          </a:prstGeom>
        </p:spPr>
      </p:pic>
      <p:sp>
        <p:nvSpPr>
          <p:cNvPr id="7" name="Code Box">
            <a:extLst>
              <a:ext uri="{FF2B5EF4-FFF2-40B4-BE49-F238E27FC236}">
                <a16:creationId xmlns:a16="http://schemas.microsoft.com/office/drawing/2014/main" id="{2CA59A90-F19B-4DE1-B546-663DBE03B173}"/>
              </a:ext>
            </a:extLst>
          </p:cNvPr>
          <p:cNvSpPr/>
          <p:nvPr>
            <p:custDataLst>
              <p:tags r:id="rId2"/>
            </p:custDataLst>
          </p:nvPr>
        </p:nvSpPr>
        <p:spPr>
          <a:xfrm>
            <a:off x="748313" y="1830076"/>
            <a:ext cx="10880725" cy="769899"/>
          </a:xfrm>
          <a:prstGeom prst="rect">
            <a:avLst/>
          </a:prstGeom>
          <a:solidFill>
            <a:srgbClr val="012456"/>
          </a:solidFill>
        </p:spPr>
        <p:txBody>
          <a:bodyPr wrap="square" anchor="t">
            <a:noAutofit/>
          </a:bodyPr>
          <a:lstStyle/>
          <a:p>
            <a:r>
              <a:rPr lang="en-AU" sz="2000">
                <a:solidFill>
                  <a:schemeClr val="lt1"/>
                </a:solidFill>
                <a:latin typeface="Lucida Console"/>
              </a:rPr>
              <a:t>PS c:\&gt; </a:t>
            </a:r>
            <a:r>
              <a:rPr lang="en-AU" sz="2000">
                <a:solidFill>
                  <a:srgbClr val="FEF000"/>
                </a:solidFill>
                <a:latin typeface="Lucida Console"/>
              </a:rPr>
              <a:t>git</a:t>
            </a:r>
            <a:r>
              <a:rPr lang="en-AU" sz="2000">
                <a:solidFill>
                  <a:schemeClr val="lt1"/>
                </a:solidFill>
                <a:latin typeface="Lucida Console"/>
              </a:rPr>
              <a:t> </a:t>
            </a:r>
            <a:r>
              <a:rPr lang="en-AU" sz="2000" err="1">
                <a:solidFill>
                  <a:schemeClr val="lt1"/>
                </a:solidFill>
                <a:latin typeface="Lucida Console"/>
              </a:rPr>
              <a:t>init</a:t>
            </a:r>
            <a:r>
              <a:rPr lang="en-AU" sz="2000">
                <a:solidFill>
                  <a:schemeClr val="lt1"/>
                </a:solidFill>
                <a:latin typeface="Lucida Console"/>
              </a:rPr>
              <a:t> </a:t>
            </a:r>
            <a:r>
              <a:rPr lang="en-AU" sz="2000" err="1">
                <a:solidFill>
                  <a:schemeClr val="lt1"/>
                </a:solidFill>
                <a:latin typeface="Lucida Console"/>
              </a:rPr>
              <a:t>MyNewRepository</a:t>
            </a:r>
            <a:endParaRPr lang="en-AU" sz="2000">
              <a:solidFill>
                <a:schemeClr val="lt1"/>
              </a:solidFill>
              <a:latin typeface="Lucida Console"/>
            </a:endParaRPr>
          </a:p>
          <a:p>
            <a:r>
              <a:rPr lang="en-AU" sz="2000">
                <a:solidFill>
                  <a:schemeClr val="lt1"/>
                </a:solidFill>
                <a:latin typeface="Lucida Console"/>
              </a:rPr>
              <a:t>Initialized empty Git repository in C:/MyNewRepository/.git/</a:t>
            </a:r>
          </a:p>
        </p:txBody>
      </p:sp>
      <p:sp>
        <p:nvSpPr>
          <p:cNvPr id="10" name="Code Box">
            <a:extLst>
              <a:ext uri="{FF2B5EF4-FFF2-40B4-BE49-F238E27FC236}">
                <a16:creationId xmlns:a16="http://schemas.microsoft.com/office/drawing/2014/main" id="{34C36496-55C1-43A2-919B-7F377229F7EB}"/>
              </a:ext>
            </a:extLst>
          </p:cNvPr>
          <p:cNvSpPr/>
          <p:nvPr>
            <p:custDataLst>
              <p:tags r:id="rId3"/>
            </p:custDataLst>
          </p:nvPr>
        </p:nvSpPr>
        <p:spPr>
          <a:xfrm>
            <a:off x="748312" y="3173627"/>
            <a:ext cx="10880725" cy="759601"/>
          </a:xfrm>
          <a:prstGeom prst="rect">
            <a:avLst/>
          </a:prstGeom>
          <a:solidFill>
            <a:srgbClr val="012456"/>
          </a:solidFill>
        </p:spPr>
        <p:txBody>
          <a:bodyPr wrap="square" anchor="t">
            <a:noAutofit/>
          </a:bodyPr>
          <a:lstStyle/>
          <a:p>
            <a:r>
              <a:rPr lang="en-AU" sz="2000">
                <a:solidFill>
                  <a:schemeClr val="lt1"/>
                </a:solidFill>
                <a:latin typeface="Lucida Console"/>
              </a:rPr>
              <a:t>PS c:\&gt; </a:t>
            </a:r>
            <a:r>
              <a:rPr lang="en-AU" sz="2000">
                <a:solidFill>
                  <a:srgbClr val="FEF000"/>
                </a:solidFill>
                <a:latin typeface="Lucida Console"/>
              </a:rPr>
              <a:t>git</a:t>
            </a:r>
            <a:r>
              <a:rPr lang="en-AU" sz="2000">
                <a:solidFill>
                  <a:schemeClr val="lt1"/>
                </a:solidFill>
                <a:latin typeface="Lucida Console"/>
              </a:rPr>
              <a:t> clone https://github.com/anwaterh/MyNewRepository.git</a:t>
            </a:r>
          </a:p>
          <a:p>
            <a:r>
              <a:rPr lang="en-AU" sz="2000">
                <a:solidFill>
                  <a:schemeClr val="lt1"/>
                </a:solidFill>
                <a:latin typeface="Lucida Console"/>
              </a:rPr>
              <a:t>Cloning into '</a:t>
            </a:r>
            <a:r>
              <a:rPr lang="en-AU" sz="2000" err="1">
                <a:solidFill>
                  <a:schemeClr val="lt1"/>
                </a:solidFill>
                <a:latin typeface="Lucida Console"/>
              </a:rPr>
              <a:t>MyNewRepository</a:t>
            </a:r>
            <a:r>
              <a:rPr lang="en-AU" sz="2000">
                <a:solidFill>
                  <a:schemeClr val="lt1"/>
                </a:solidFill>
                <a:latin typeface="Lucida Console"/>
              </a:rPr>
              <a:t>'...</a:t>
            </a:r>
          </a:p>
        </p:txBody>
      </p:sp>
    </p:spTree>
    <p:custDataLst>
      <p:tags r:id="rId1"/>
    </p:custDataLst>
    <p:extLst>
      <p:ext uri="{BB962C8B-B14F-4D97-AF65-F5344CB8AC3E}">
        <p14:creationId xmlns:p14="http://schemas.microsoft.com/office/powerpoint/2010/main" val="3226910080"/>
      </p:ext>
    </p:extLst>
  </p:cSld>
  <p:clrMapOvr>
    <a:masterClrMapping/>
  </p:clrMapOvr>
  <p:transition spd="slow"/>
</p:sld>
</file>

<file path=ppt/slides/slide2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5807E4-38D4-4278-9B9E-286F7F89CC66}"/>
              </a:ext>
            </a:extLst>
          </p:cNvPr>
          <p:cNvSpPr>
            <a:spLocks noGrp="1"/>
          </p:cNvSpPr>
          <p:nvPr>
            <p:ph type="title"/>
          </p:nvPr>
        </p:nvSpPr>
        <p:spPr/>
        <p:txBody>
          <a:bodyPr/>
          <a:lstStyle/>
          <a:p>
            <a:r>
              <a:rPr lang="en-US"/>
              <a:t>Workspace / Staging Area</a:t>
            </a:r>
          </a:p>
        </p:txBody>
      </p:sp>
      <p:sp>
        <p:nvSpPr>
          <p:cNvPr id="2" name="Text Placeholder 1">
            <a:extLst>
              <a:ext uri="{FF2B5EF4-FFF2-40B4-BE49-F238E27FC236}">
                <a16:creationId xmlns:a16="http://schemas.microsoft.com/office/drawing/2014/main" id="{51F54B81-E1BF-4DEF-A19C-98FD348D8F3A}"/>
              </a:ext>
            </a:extLst>
          </p:cNvPr>
          <p:cNvSpPr>
            <a:spLocks noGrp="1"/>
          </p:cNvSpPr>
          <p:nvPr>
            <p:ph sz="quarter" idx="13"/>
          </p:nvPr>
        </p:nvSpPr>
        <p:spPr/>
        <p:txBody>
          <a:bodyPr/>
          <a:lstStyle/>
          <a:p>
            <a:r>
              <a:rPr lang="en-US"/>
              <a:t>Files are created / edited in your workspace</a:t>
            </a:r>
          </a:p>
          <a:p>
            <a:r>
              <a:rPr lang="en-US"/>
              <a:t>To track a file it first must be added to the staging area</a:t>
            </a:r>
          </a:p>
          <a:p>
            <a:r>
              <a:rPr lang="en-US"/>
              <a:t>Staged files can then be committed (snapshot of the current staging area)</a:t>
            </a:r>
          </a:p>
          <a:p>
            <a:r>
              <a:rPr lang="en-US"/>
              <a:t>All files / changes can be added – or only individual files</a:t>
            </a:r>
          </a:p>
          <a:p>
            <a:endParaRPr lang="en-US"/>
          </a:p>
        </p:txBody>
      </p:sp>
      <p:graphicFrame>
        <p:nvGraphicFramePr>
          <p:cNvPr id="4" name="Diagram 3">
            <a:extLst>
              <a:ext uri="{FF2B5EF4-FFF2-40B4-BE49-F238E27FC236}">
                <a16:creationId xmlns:a16="http://schemas.microsoft.com/office/drawing/2014/main" id="{8B2AB052-3209-4C7E-B6B4-9AB421354992}"/>
              </a:ext>
            </a:extLst>
          </p:cNvPr>
          <p:cNvGraphicFramePr/>
          <p:nvPr>
            <p:extLst>
              <p:ext uri="{D42A27DB-BD31-4B8C-83A1-F6EECF244321}">
                <p14:modId xmlns:p14="http://schemas.microsoft.com/office/powerpoint/2010/main" val="938203899"/>
              </p:ext>
            </p:extLst>
          </p:nvPr>
        </p:nvGraphicFramePr>
        <p:xfrm>
          <a:off x="655638" y="3343580"/>
          <a:ext cx="10880726" cy="288418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508498538"/>
      </p:ext>
    </p:extLst>
  </p:cSld>
  <p:clrMapOvr>
    <a:masterClrMapping/>
  </p:clrMapOvr>
  <p:transition spd="slow"/>
</p:sld>
</file>

<file path=ppt/slides/slide2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D897FF-46A1-4D94-AA8D-2A0D49B83BA2}"/>
              </a:ext>
            </a:extLst>
          </p:cNvPr>
          <p:cNvSpPr>
            <a:spLocks noGrp="1"/>
          </p:cNvSpPr>
          <p:nvPr>
            <p:ph type="title"/>
          </p:nvPr>
        </p:nvSpPr>
        <p:spPr/>
        <p:txBody>
          <a:bodyPr/>
          <a:lstStyle/>
          <a:p>
            <a:r>
              <a:rPr lang="en-US">
                <a:cs typeface="Segoe UI"/>
              </a:rPr>
              <a:t>Adding Content to Staging Area</a:t>
            </a:r>
          </a:p>
        </p:txBody>
      </p:sp>
      <p:sp>
        <p:nvSpPr>
          <p:cNvPr id="2" name="Text Placeholder 1">
            <a:extLst>
              <a:ext uri="{FF2B5EF4-FFF2-40B4-BE49-F238E27FC236}">
                <a16:creationId xmlns:a16="http://schemas.microsoft.com/office/drawing/2014/main" id="{77D15BFE-690D-474B-B013-A640580DC34C}"/>
              </a:ext>
            </a:extLst>
          </p:cNvPr>
          <p:cNvSpPr>
            <a:spLocks noGrp="1"/>
          </p:cNvSpPr>
          <p:nvPr>
            <p:ph sz="quarter" idx="13"/>
          </p:nvPr>
        </p:nvSpPr>
        <p:spPr/>
        <p:txBody>
          <a:bodyPr vert="horz" lIns="0" tIns="0" rIns="0" bIns="0" rtlCol="0" anchor="t">
            <a:normAutofit/>
          </a:bodyPr>
          <a:lstStyle/>
          <a:p>
            <a:pPr marL="310515" indent="-310515"/>
            <a:r>
              <a:rPr lang="en-US" b="1">
                <a:cs typeface="Segoe UI"/>
              </a:rPr>
              <a:t>Add a file to staging area</a:t>
            </a:r>
            <a:r>
              <a:rPr lang="en-US">
                <a:cs typeface="Segoe UI"/>
              </a:rPr>
              <a:t> – </a:t>
            </a:r>
            <a:r>
              <a:rPr lang="en-US" i="1">
                <a:cs typeface="Segoe UI"/>
              </a:rPr>
              <a:t>git add &lt;filename&gt;</a:t>
            </a:r>
          </a:p>
          <a:p>
            <a:pPr marL="310515" indent="-310515"/>
            <a:endParaRPr lang="en-US"/>
          </a:p>
          <a:p>
            <a:pPr marL="310515" indent="-310515"/>
            <a:endParaRPr lang="en-US"/>
          </a:p>
          <a:p>
            <a:pPr marL="310515" indent="-310515"/>
            <a:endParaRPr lang="en-US"/>
          </a:p>
          <a:p>
            <a:pPr marL="310515" indent="-310515"/>
            <a:endParaRPr lang="en-US"/>
          </a:p>
          <a:p>
            <a:pPr marL="310515" indent="-310515"/>
            <a:endParaRPr lang="en-US"/>
          </a:p>
          <a:p>
            <a:pPr marL="310515" indent="-310515"/>
            <a:endParaRPr lang="en-US"/>
          </a:p>
          <a:p>
            <a:pPr marL="310515" indent="-310515"/>
            <a:endParaRPr lang="en-US"/>
          </a:p>
          <a:p>
            <a:pPr marL="310515" indent="-310515"/>
            <a:endParaRPr lang="en-US"/>
          </a:p>
          <a:p>
            <a:pPr marL="310515" indent="-310515"/>
            <a:r>
              <a:rPr lang="en-US" b="1">
                <a:cs typeface="Segoe UI"/>
              </a:rPr>
              <a:t>Add all files to staging area</a:t>
            </a:r>
            <a:r>
              <a:rPr lang="en-US">
                <a:cs typeface="Segoe UI"/>
              </a:rPr>
              <a:t> – </a:t>
            </a:r>
            <a:r>
              <a:rPr lang="en-US" i="1">
                <a:cs typeface="Segoe UI"/>
              </a:rPr>
              <a:t>git add .</a:t>
            </a:r>
          </a:p>
        </p:txBody>
      </p:sp>
      <p:sp>
        <p:nvSpPr>
          <p:cNvPr id="6" name="Code Box">
            <a:extLst>
              <a:ext uri="{FF2B5EF4-FFF2-40B4-BE49-F238E27FC236}">
                <a16:creationId xmlns:a16="http://schemas.microsoft.com/office/drawing/2014/main" id="{4CE014F1-9C61-4BCA-8A4D-508E5FD7E1B7}"/>
              </a:ext>
            </a:extLst>
          </p:cNvPr>
          <p:cNvSpPr/>
          <p:nvPr>
            <p:custDataLst>
              <p:tags r:id="rId2"/>
            </p:custDataLst>
          </p:nvPr>
        </p:nvSpPr>
        <p:spPr>
          <a:xfrm>
            <a:off x="609600" y="1948249"/>
            <a:ext cx="10880725" cy="3311610"/>
          </a:xfrm>
          <a:prstGeom prst="rect">
            <a:avLst/>
          </a:prstGeom>
          <a:solidFill>
            <a:srgbClr val="012456"/>
          </a:solidFill>
        </p:spPr>
        <p:txBody>
          <a:bodyPr wrap="square" anchor="t">
            <a:noAutofit/>
          </a:bodyPr>
          <a:lstStyle/>
          <a:p>
            <a:pPr lvl="0" defTabSz="914367">
              <a:defRPr/>
            </a:pPr>
            <a:r>
              <a:rPr lang="en-AU" sz="2000">
                <a:solidFill>
                  <a:schemeClr val="lt1"/>
                </a:solidFill>
                <a:latin typeface="Lucida Console"/>
              </a:rPr>
              <a:t>PS c:\MyNewRepository&gt; </a:t>
            </a:r>
            <a:r>
              <a:rPr lang="en-AU" sz="2000">
                <a:solidFill>
                  <a:srgbClr val="FEF000"/>
                </a:solidFill>
                <a:latin typeface="Lucida Console"/>
              </a:rPr>
              <a:t>git</a:t>
            </a:r>
            <a:r>
              <a:rPr lang="en-AU" sz="2000">
                <a:solidFill>
                  <a:schemeClr val="lt1"/>
                </a:solidFill>
                <a:latin typeface="Lucida Console"/>
              </a:rPr>
              <a:t> add .\script.txt</a:t>
            </a:r>
          </a:p>
          <a:p>
            <a:r>
              <a:rPr lang="en-AU" sz="2000">
                <a:solidFill>
                  <a:schemeClr val="lt1"/>
                </a:solidFill>
                <a:latin typeface="Lucida Console"/>
              </a:rPr>
              <a:t>PS c:\MyNewRepository&gt; </a:t>
            </a:r>
            <a:r>
              <a:rPr lang="en-AU" sz="2000">
                <a:solidFill>
                  <a:srgbClr val="FEF000"/>
                </a:solidFill>
                <a:latin typeface="Lucida Console"/>
              </a:rPr>
              <a:t>git</a:t>
            </a:r>
            <a:r>
              <a:rPr lang="en-AU" sz="2000">
                <a:solidFill>
                  <a:schemeClr val="lt1"/>
                </a:solidFill>
                <a:latin typeface="Lucida Console"/>
              </a:rPr>
              <a:t> status</a:t>
            </a:r>
          </a:p>
          <a:p>
            <a:r>
              <a:rPr lang="en-AU" sz="2000">
                <a:solidFill>
                  <a:schemeClr val="lt1"/>
                </a:solidFill>
                <a:latin typeface="Lucida Console"/>
              </a:rPr>
              <a:t>On branch master</a:t>
            </a:r>
          </a:p>
          <a:p>
            <a:endParaRPr lang="en-AU" sz="2000">
              <a:solidFill>
                <a:schemeClr val="lt1"/>
              </a:solidFill>
              <a:latin typeface="Lucida Console" panose="020B0609040504020204" pitchFamily="49" charset="0"/>
            </a:endParaRPr>
          </a:p>
          <a:p>
            <a:r>
              <a:rPr lang="en-AU" sz="2000">
                <a:solidFill>
                  <a:schemeClr val="lt1"/>
                </a:solidFill>
                <a:latin typeface="Lucida Console"/>
              </a:rPr>
              <a:t>No commits yet</a:t>
            </a:r>
          </a:p>
          <a:p>
            <a:endParaRPr lang="en-AU" sz="2000">
              <a:solidFill>
                <a:schemeClr val="lt1"/>
              </a:solidFill>
              <a:latin typeface="Lucida Console" panose="020B0609040504020204" pitchFamily="49" charset="0"/>
            </a:endParaRPr>
          </a:p>
          <a:p>
            <a:r>
              <a:rPr lang="en-AU" sz="2000">
                <a:solidFill>
                  <a:schemeClr val="lt1"/>
                </a:solidFill>
                <a:latin typeface="Lucida Console"/>
              </a:rPr>
              <a:t>Changes to be committed:</a:t>
            </a:r>
          </a:p>
          <a:p>
            <a:r>
              <a:rPr lang="en-AU" sz="2000">
                <a:solidFill>
                  <a:schemeClr val="lt1"/>
                </a:solidFill>
                <a:latin typeface="Lucida Console"/>
              </a:rPr>
              <a:t>  (use "git rm –cached &lt;file&gt;... " to </a:t>
            </a:r>
            <a:r>
              <a:rPr lang="en-AU" sz="2000" err="1">
                <a:solidFill>
                  <a:schemeClr val="lt1"/>
                </a:solidFill>
                <a:latin typeface="Lucida Console"/>
              </a:rPr>
              <a:t>unstage</a:t>
            </a:r>
            <a:r>
              <a:rPr lang="en-AU" sz="2000">
                <a:solidFill>
                  <a:schemeClr val="lt1"/>
                </a:solidFill>
                <a:latin typeface="Lucida Console"/>
              </a:rPr>
              <a:t>)</a:t>
            </a:r>
          </a:p>
          <a:p>
            <a:endParaRPr lang="en-AU" sz="2000">
              <a:solidFill>
                <a:schemeClr val="lt1"/>
              </a:solidFill>
              <a:latin typeface="Lucida Console" panose="020B0609040504020204" pitchFamily="49" charset="0"/>
            </a:endParaRPr>
          </a:p>
          <a:p>
            <a:r>
              <a:rPr lang="en-AU" sz="2000">
                <a:solidFill>
                  <a:schemeClr val="lt1"/>
                </a:solidFill>
                <a:latin typeface="Lucida Console"/>
              </a:rPr>
              <a:t>         </a:t>
            </a:r>
            <a:r>
              <a:rPr lang="en-AU" sz="2000">
                <a:solidFill>
                  <a:schemeClr val="accent4"/>
                </a:solidFill>
                <a:latin typeface="Lucida Console"/>
              </a:rPr>
              <a:t>new file:     script.txt</a:t>
            </a:r>
          </a:p>
        </p:txBody>
      </p:sp>
    </p:spTree>
    <p:custDataLst>
      <p:tags r:id="rId1"/>
    </p:custDataLst>
    <p:extLst>
      <p:ext uri="{BB962C8B-B14F-4D97-AF65-F5344CB8AC3E}">
        <p14:creationId xmlns:p14="http://schemas.microsoft.com/office/powerpoint/2010/main" val="3650975258"/>
      </p:ext>
    </p:extLst>
  </p:cSld>
  <p:clrMapOvr>
    <a:masterClrMapping/>
  </p:clrMapOvr>
  <p:transition spd="slow"/>
</p:sld>
</file>

<file path=ppt/slides/slide2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453CA0-C8E9-4C9F-A0DF-85E83BD08CFE}"/>
              </a:ext>
            </a:extLst>
          </p:cNvPr>
          <p:cNvSpPr>
            <a:spLocks noGrp="1"/>
          </p:cNvSpPr>
          <p:nvPr>
            <p:ph type="title"/>
          </p:nvPr>
        </p:nvSpPr>
        <p:spPr/>
        <p:txBody>
          <a:bodyPr/>
          <a:lstStyle/>
          <a:p>
            <a:r>
              <a:rPr lang="en-US">
                <a:cs typeface="Segoe UI"/>
              </a:rPr>
              <a:t>Removing Staging Area Content</a:t>
            </a:r>
          </a:p>
        </p:txBody>
      </p:sp>
      <p:sp>
        <p:nvSpPr>
          <p:cNvPr id="2" name="Text Placeholder 1">
            <a:extLst>
              <a:ext uri="{FF2B5EF4-FFF2-40B4-BE49-F238E27FC236}">
                <a16:creationId xmlns:a16="http://schemas.microsoft.com/office/drawing/2014/main" id="{6CB60889-84C8-4CD7-9404-1DB0F0AF2FB8}"/>
              </a:ext>
            </a:extLst>
          </p:cNvPr>
          <p:cNvSpPr>
            <a:spLocks noGrp="1"/>
          </p:cNvSpPr>
          <p:nvPr>
            <p:ph sz="quarter" idx="13"/>
          </p:nvPr>
        </p:nvSpPr>
        <p:spPr/>
        <p:txBody>
          <a:bodyPr/>
          <a:lstStyle/>
          <a:p>
            <a:r>
              <a:rPr lang="en-US"/>
              <a:t>Remove a file from staging (won’t be part of the commit)</a:t>
            </a:r>
          </a:p>
          <a:p>
            <a:endParaRPr lang="en-US"/>
          </a:p>
        </p:txBody>
      </p:sp>
      <p:sp>
        <p:nvSpPr>
          <p:cNvPr id="6" name="Code Box">
            <a:extLst>
              <a:ext uri="{FF2B5EF4-FFF2-40B4-BE49-F238E27FC236}">
                <a16:creationId xmlns:a16="http://schemas.microsoft.com/office/drawing/2014/main" id="{937FA04D-A9D1-47B3-93F6-1257D434A8A4}"/>
              </a:ext>
            </a:extLst>
          </p:cNvPr>
          <p:cNvSpPr/>
          <p:nvPr>
            <p:custDataLst>
              <p:tags r:id="rId2"/>
            </p:custDataLst>
          </p:nvPr>
        </p:nvSpPr>
        <p:spPr>
          <a:xfrm>
            <a:off x="655638" y="2010032"/>
            <a:ext cx="10880726" cy="4217730"/>
          </a:xfrm>
          <a:prstGeom prst="rect">
            <a:avLst/>
          </a:prstGeom>
          <a:solidFill>
            <a:srgbClr val="012456"/>
          </a:solidFill>
        </p:spPr>
        <p:txBody>
          <a:bodyPr wrap="square" anchor="t">
            <a:noAutofit/>
          </a:bodyPr>
          <a:lstStyle/>
          <a:p>
            <a:pPr lvl="0" defTabSz="914367">
              <a:defRPr/>
            </a:pPr>
            <a:r>
              <a:rPr lang="en-AU" sz="1900" dirty="0">
                <a:solidFill>
                  <a:schemeClr val="lt1"/>
                </a:solidFill>
                <a:latin typeface="Lucida Console"/>
              </a:rPr>
              <a:t>PS c:\MyNewRepository&gt; </a:t>
            </a:r>
            <a:r>
              <a:rPr lang="en-AU" sz="1900" dirty="0">
                <a:solidFill>
                  <a:srgbClr val="FEF000"/>
                </a:solidFill>
                <a:latin typeface="Lucida Console"/>
              </a:rPr>
              <a:t>git</a:t>
            </a:r>
            <a:r>
              <a:rPr lang="en-AU" sz="1900" dirty="0">
                <a:solidFill>
                  <a:schemeClr val="lt1"/>
                </a:solidFill>
                <a:latin typeface="Lucida Console"/>
              </a:rPr>
              <a:t> rm .\script.txt –cached</a:t>
            </a:r>
          </a:p>
          <a:p>
            <a:pPr lvl="0" defTabSz="914367">
              <a:defRPr/>
            </a:pPr>
            <a:r>
              <a:rPr lang="en-AU" sz="1900" dirty="0">
                <a:solidFill>
                  <a:schemeClr val="lt1"/>
                </a:solidFill>
                <a:latin typeface="Lucida Console"/>
              </a:rPr>
              <a:t>Rm 'script.txt'</a:t>
            </a:r>
          </a:p>
          <a:p>
            <a:r>
              <a:rPr lang="en-AU" sz="1900" dirty="0">
                <a:solidFill>
                  <a:schemeClr val="lt1"/>
                </a:solidFill>
                <a:latin typeface="Lucida Console"/>
              </a:rPr>
              <a:t>PS c:\MyNewRepository&gt; </a:t>
            </a:r>
            <a:r>
              <a:rPr lang="en-AU" sz="1900" dirty="0">
                <a:solidFill>
                  <a:srgbClr val="FEF000"/>
                </a:solidFill>
                <a:latin typeface="Lucida Console"/>
              </a:rPr>
              <a:t>git</a:t>
            </a:r>
            <a:r>
              <a:rPr lang="en-AU" sz="1900" dirty="0">
                <a:solidFill>
                  <a:schemeClr val="lt1"/>
                </a:solidFill>
                <a:latin typeface="Lucida Console"/>
              </a:rPr>
              <a:t> status</a:t>
            </a:r>
          </a:p>
          <a:p>
            <a:r>
              <a:rPr lang="en-AU" sz="1900" dirty="0">
                <a:solidFill>
                  <a:schemeClr val="lt1"/>
                </a:solidFill>
                <a:latin typeface="Lucida Console"/>
              </a:rPr>
              <a:t>On branch master</a:t>
            </a:r>
          </a:p>
          <a:p>
            <a:endParaRPr lang="en-AU" sz="1900" dirty="0">
              <a:solidFill>
                <a:schemeClr val="lt1"/>
              </a:solidFill>
              <a:latin typeface="Lucida Console" panose="020B0609040504020204" pitchFamily="49" charset="0"/>
            </a:endParaRPr>
          </a:p>
          <a:p>
            <a:r>
              <a:rPr lang="en-AU" sz="1900" dirty="0">
                <a:solidFill>
                  <a:schemeClr val="lt1"/>
                </a:solidFill>
                <a:latin typeface="Lucida Console"/>
              </a:rPr>
              <a:t>No commits yet</a:t>
            </a:r>
          </a:p>
          <a:p>
            <a:endParaRPr lang="en-AU" sz="1900" dirty="0">
              <a:solidFill>
                <a:schemeClr val="lt1"/>
              </a:solidFill>
              <a:latin typeface="Lucida Console" panose="020B0609040504020204" pitchFamily="49" charset="0"/>
            </a:endParaRPr>
          </a:p>
          <a:p>
            <a:r>
              <a:rPr lang="en-AU" sz="1900" dirty="0">
                <a:solidFill>
                  <a:schemeClr val="lt1"/>
                </a:solidFill>
                <a:latin typeface="Lucida Console"/>
              </a:rPr>
              <a:t>Untracked files:</a:t>
            </a:r>
          </a:p>
          <a:p>
            <a:r>
              <a:rPr lang="en-AU" sz="1900" dirty="0">
                <a:solidFill>
                  <a:schemeClr val="lt1"/>
                </a:solidFill>
                <a:latin typeface="Lucida Console"/>
              </a:rPr>
              <a:t>   (use "git add &lt;file&gt;..." to include in what will be committed)</a:t>
            </a:r>
          </a:p>
          <a:p>
            <a:endParaRPr lang="en-AU" sz="1900" dirty="0">
              <a:solidFill>
                <a:schemeClr val="lt1"/>
              </a:solidFill>
              <a:latin typeface="Lucida Console" panose="020B0609040504020204" pitchFamily="49" charset="0"/>
            </a:endParaRPr>
          </a:p>
          <a:p>
            <a:r>
              <a:rPr lang="en-AU" sz="1900" dirty="0">
                <a:solidFill>
                  <a:schemeClr val="accent3"/>
                </a:solidFill>
                <a:latin typeface="Lucida Console"/>
              </a:rPr>
              <a:t>            script.txt</a:t>
            </a:r>
          </a:p>
          <a:p>
            <a:endParaRPr lang="en-AU" sz="1900" dirty="0">
              <a:solidFill>
                <a:schemeClr val="accent4"/>
              </a:solidFill>
              <a:latin typeface="Lucida Console" panose="020B0609040504020204" pitchFamily="49" charset="0"/>
            </a:endParaRPr>
          </a:p>
          <a:p>
            <a:r>
              <a:rPr lang="en-AU" sz="1900" dirty="0">
                <a:solidFill>
                  <a:schemeClr val="bg1"/>
                </a:solidFill>
                <a:latin typeface="Lucida Console"/>
              </a:rPr>
              <a:t>Nothing added to commit but untracked files present (use </a:t>
            </a:r>
            <a:r>
              <a:rPr lang="en-AU" sz="1900" dirty="0">
                <a:solidFill>
                  <a:schemeClr val="lt1"/>
                </a:solidFill>
                <a:latin typeface="Lucida Console"/>
              </a:rPr>
              <a:t>"</a:t>
            </a:r>
            <a:r>
              <a:rPr lang="en-AU" sz="1900" dirty="0">
                <a:solidFill>
                  <a:schemeClr val="bg1"/>
                </a:solidFill>
                <a:latin typeface="Lucida Console"/>
              </a:rPr>
              <a:t>git add</a:t>
            </a:r>
            <a:r>
              <a:rPr lang="en-AU" sz="1900" dirty="0">
                <a:solidFill>
                  <a:schemeClr val="lt1"/>
                </a:solidFill>
                <a:latin typeface="Lucida Console"/>
              </a:rPr>
              <a:t>"</a:t>
            </a:r>
            <a:r>
              <a:rPr lang="en-AU" sz="1900" dirty="0">
                <a:solidFill>
                  <a:schemeClr val="bg1"/>
                </a:solidFill>
                <a:latin typeface="Lucida Console"/>
              </a:rPr>
              <a:t> to track)</a:t>
            </a:r>
          </a:p>
        </p:txBody>
      </p:sp>
    </p:spTree>
    <p:custDataLst>
      <p:tags r:id="rId1"/>
    </p:custDataLst>
    <p:extLst>
      <p:ext uri="{BB962C8B-B14F-4D97-AF65-F5344CB8AC3E}">
        <p14:creationId xmlns:p14="http://schemas.microsoft.com/office/powerpoint/2010/main" val="4006278816"/>
      </p:ext>
    </p:extLst>
  </p:cSld>
  <p:clrMapOvr>
    <a:masterClrMapping/>
  </p:clrMapOvr>
  <p:transition spd="slow"/>
</p:sld>
</file>

<file path=ppt/slides/slide2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955413-AF5F-4892-82E0-8369754A4CD8}"/>
              </a:ext>
            </a:extLst>
          </p:cNvPr>
          <p:cNvSpPr>
            <a:spLocks noGrp="1"/>
          </p:cNvSpPr>
          <p:nvPr>
            <p:ph type="title"/>
          </p:nvPr>
        </p:nvSpPr>
        <p:spPr>
          <a:prstGeom prst="rect">
            <a:avLst/>
          </a:prstGeom>
          <a:ln>
            <a:noFill/>
          </a:ln>
        </p:spPr>
        <p:txBody>
          <a:bodyPr wrap="square" anchor="ctr">
            <a:normAutofit/>
          </a:bodyPr>
          <a:lstStyle/>
          <a:p>
            <a:r>
              <a:rPr lang="en-US"/>
              <a:t>Commit</a:t>
            </a:r>
          </a:p>
        </p:txBody>
      </p:sp>
      <p:sp>
        <p:nvSpPr>
          <p:cNvPr id="2" name="Text Placeholder 1">
            <a:extLst>
              <a:ext uri="{FF2B5EF4-FFF2-40B4-BE49-F238E27FC236}">
                <a16:creationId xmlns:a16="http://schemas.microsoft.com/office/drawing/2014/main" id="{9DCA5739-2513-474B-A916-37C6A50B8F60}"/>
              </a:ext>
            </a:extLst>
          </p:cNvPr>
          <p:cNvSpPr>
            <a:spLocks noGrp="1"/>
          </p:cNvSpPr>
          <p:nvPr>
            <p:ph type="body" sz="quarter" idx="10"/>
          </p:nvPr>
        </p:nvSpPr>
        <p:spPr>
          <a:prstGeom prst="rect">
            <a:avLst/>
          </a:prstGeom>
        </p:spPr>
        <p:txBody>
          <a:bodyPr anchor="ctr">
            <a:normAutofit/>
          </a:bodyPr>
          <a:lstStyle/>
          <a:p>
            <a:r>
              <a:rPr lang="en-US"/>
              <a:t>Snapshots the repository at that point</a:t>
            </a:r>
          </a:p>
          <a:p>
            <a:r>
              <a:rPr lang="en-US"/>
              <a:t>All staged files become part of the commit</a:t>
            </a:r>
          </a:p>
          <a:p>
            <a:r>
              <a:rPr lang="en-US"/>
              <a:t>Saves email address and username</a:t>
            </a:r>
          </a:p>
          <a:p>
            <a:r>
              <a:rPr lang="en-US"/>
              <a:t>Contains a message describing the changes</a:t>
            </a:r>
          </a:p>
          <a:p>
            <a:r>
              <a:rPr lang="en-US"/>
              <a:t>Commit has a unique hash which is used as a reference</a:t>
            </a:r>
          </a:p>
          <a:p>
            <a:r>
              <a:rPr lang="en-US"/>
              <a:t>Use a text editor or the –m switch to provide the message</a:t>
            </a:r>
          </a:p>
          <a:p>
            <a:endParaRPr lang="en-US"/>
          </a:p>
        </p:txBody>
      </p:sp>
    </p:spTree>
    <p:custDataLst>
      <p:tags r:id="rId1"/>
    </p:custDataLst>
    <p:extLst>
      <p:ext uri="{BB962C8B-B14F-4D97-AF65-F5344CB8AC3E}">
        <p14:creationId xmlns:p14="http://schemas.microsoft.com/office/powerpoint/2010/main" val="2233136314"/>
      </p:ext>
    </p:extLst>
  </p:cSld>
  <p:clrMapOvr>
    <a:masterClrMapping/>
  </p:clrMapOvr>
  <p:transition spd="slow"/>
</p:sld>
</file>

<file path=ppt/slides/slide2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955413-AF5F-4892-82E0-8369754A4CD8}"/>
              </a:ext>
            </a:extLst>
          </p:cNvPr>
          <p:cNvSpPr>
            <a:spLocks noGrp="1"/>
          </p:cNvSpPr>
          <p:nvPr>
            <p:ph type="title"/>
          </p:nvPr>
        </p:nvSpPr>
        <p:spPr>
          <a:prstGeom prst="rect">
            <a:avLst/>
          </a:prstGeom>
          <a:ln>
            <a:noFill/>
          </a:ln>
        </p:spPr>
        <p:txBody>
          <a:bodyPr wrap="square" anchor="t">
            <a:normAutofit/>
          </a:bodyPr>
          <a:lstStyle/>
          <a:p>
            <a:r>
              <a:rPr lang="en-US">
                <a:cs typeface="Segoe UI"/>
              </a:rPr>
              <a:t>Commit - Under the Hood</a:t>
            </a:r>
          </a:p>
        </p:txBody>
      </p:sp>
      <p:sp>
        <p:nvSpPr>
          <p:cNvPr id="2" name="Text Placeholder 1">
            <a:extLst>
              <a:ext uri="{FF2B5EF4-FFF2-40B4-BE49-F238E27FC236}">
                <a16:creationId xmlns:a16="http://schemas.microsoft.com/office/drawing/2014/main" id="{9DCA5739-2513-474B-A916-37C6A50B8F60}"/>
              </a:ext>
            </a:extLst>
          </p:cNvPr>
          <p:cNvSpPr>
            <a:spLocks noGrp="1"/>
          </p:cNvSpPr>
          <p:nvPr>
            <p:ph sz="quarter" idx="13"/>
          </p:nvPr>
        </p:nvSpPr>
        <p:spPr>
          <a:prstGeom prst="rect">
            <a:avLst/>
          </a:prstGeom>
        </p:spPr>
        <p:txBody>
          <a:bodyPr>
            <a:normAutofit/>
          </a:bodyPr>
          <a:lstStyle/>
          <a:p>
            <a:pPr marL="342900" indent="-342900">
              <a:lnSpc>
                <a:spcPct val="90000"/>
              </a:lnSpc>
              <a:buFont typeface="Arial" panose="020B0604020202020204" pitchFamily="34" charset="0"/>
              <a:buChar char="•"/>
            </a:pPr>
            <a:r>
              <a:rPr lang="en-US" sz="2200"/>
              <a:t>Commit stores the entire blob, not just deltas as hashes: 530a6ac7c3682458ec6307a7c2c350ed849bfaf7</a:t>
            </a:r>
          </a:p>
          <a:p>
            <a:pPr marL="342900" indent="-342900">
              <a:lnSpc>
                <a:spcPct val="90000"/>
              </a:lnSpc>
              <a:buFont typeface="Arial" panose="020B0604020202020204" pitchFamily="34" charset="0"/>
              <a:buChar char="•"/>
            </a:pPr>
            <a:r>
              <a:rPr lang="en-US" sz="2200"/>
              <a:t>Not duplicating content – leverage same blob</a:t>
            </a:r>
          </a:p>
          <a:p>
            <a:pPr marL="342900" indent="-342900">
              <a:lnSpc>
                <a:spcPct val="90000"/>
              </a:lnSpc>
              <a:buFont typeface="Arial" panose="020B0604020202020204" pitchFamily="34" charset="0"/>
              <a:buChar char="•"/>
            </a:pPr>
            <a:r>
              <a:rPr lang="en-US" sz="2200"/>
              <a:t>Multiple commits can point to the same blob content</a:t>
            </a:r>
          </a:p>
          <a:p>
            <a:pPr marL="342900" indent="-342900">
              <a:lnSpc>
                <a:spcPct val="90000"/>
              </a:lnSpc>
              <a:buFont typeface="Arial" panose="020B0604020202020204" pitchFamily="34" charset="0"/>
              <a:buChar char="•"/>
            </a:pPr>
            <a:r>
              <a:rPr lang="en-US" sz="2200"/>
              <a:t>Commit points to a tree, then to a blob</a:t>
            </a:r>
          </a:p>
          <a:p>
            <a:pPr marL="342900" indent="-342900">
              <a:lnSpc>
                <a:spcPct val="90000"/>
              </a:lnSpc>
              <a:buFont typeface="Arial" panose="020B0604020202020204" pitchFamily="34" charset="0"/>
              <a:buChar char="•"/>
            </a:pPr>
            <a:r>
              <a:rPr lang="en-US" sz="2200"/>
              <a:t>Object DB used</a:t>
            </a:r>
          </a:p>
          <a:p>
            <a:pPr marL="342900" indent="-342900">
              <a:lnSpc>
                <a:spcPct val="90000"/>
              </a:lnSpc>
              <a:buFont typeface="Arial" panose="020B0604020202020204" pitchFamily="34" charset="0"/>
              <a:buChar char="•"/>
            </a:pPr>
            <a:r>
              <a:rPr lang="en-US" sz="2200"/>
              <a:t>Start with root tree</a:t>
            </a:r>
          </a:p>
          <a:p>
            <a:pPr marL="342900" indent="-342900">
              <a:lnSpc>
                <a:spcPct val="90000"/>
              </a:lnSpc>
              <a:buFont typeface="Arial" panose="020B0604020202020204" pitchFamily="34" charset="0"/>
              <a:buChar char="•"/>
            </a:pPr>
            <a:r>
              <a:rPr lang="en-US" sz="2200"/>
              <a:t>Updates parent</a:t>
            </a:r>
          </a:p>
          <a:p>
            <a:pPr marL="342900" indent="-342900">
              <a:lnSpc>
                <a:spcPct val="90000"/>
              </a:lnSpc>
              <a:buFont typeface="Arial" panose="020B0604020202020204" pitchFamily="34" charset="0"/>
              <a:buChar char="•"/>
            </a:pPr>
            <a:r>
              <a:rPr lang="en-US" sz="2200"/>
              <a:t>.git folder to start</a:t>
            </a:r>
          </a:p>
          <a:p>
            <a:pPr>
              <a:lnSpc>
                <a:spcPct val="90000"/>
              </a:lnSpc>
            </a:pPr>
            <a:endParaRPr lang="en-US" sz="2200"/>
          </a:p>
        </p:txBody>
      </p:sp>
      <p:pic>
        <p:nvPicPr>
          <p:cNvPr id="4" name="Picture 3">
            <a:extLst>
              <a:ext uri="{FF2B5EF4-FFF2-40B4-BE49-F238E27FC236}">
                <a16:creationId xmlns:a16="http://schemas.microsoft.com/office/drawing/2014/main" id="{C68F301C-7781-483A-BF10-15CB867946CA}"/>
              </a:ext>
            </a:extLst>
          </p:cNvPr>
          <p:cNvPicPr>
            <a:picLocks noChangeAspect="1"/>
          </p:cNvPicPr>
          <p:nvPr/>
        </p:nvPicPr>
        <p:blipFill>
          <a:blip r:embed="rId3"/>
          <a:stretch>
            <a:fillRect/>
          </a:stretch>
        </p:blipFill>
        <p:spPr>
          <a:xfrm>
            <a:off x="6251578" y="3849610"/>
            <a:ext cx="5284785" cy="2378152"/>
          </a:xfrm>
          <a:prstGeom prst="rect">
            <a:avLst/>
          </a:prstGeom>
          <a:noFill/>
        </p:spPr>
      </p:pic>
    </p:spTree>
    <p:custDataLst>
      <p:tags r:id="rId1"/>
    </p:custDataLst>
    <p:extLst>
      <p:ext uri="{BB962C8B-B14F-4D97-AF65-F5344CB8AC3E}">
        <p14:creationId xmlns:p14="http://schemas.microsoft.com/office/powerpoint/2010/main" val="1656297310"/>
      </p:ext>
    </p:extLst>
  </p:cSld>
  <p:clrMapOvr>
    <a:masterClrMapping/>
  </p:clrMapOvr>
  <p:transition spd="slow"/>
</p:sld>
</file>

<file path=ppt/slides/slide2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777EE-734B-48D9-98D4-EE2892C63AFA}"/>
              </a:ext>
            </a:extLst>
          </p:cNvPr>
          <p:cNvSpPr>
            <a:spLocks noGrp="1"/>
          </p:cNvSpPr>
          <p:nvPr>
            <p:ph type="title"/>
          </p:nvPr>
        </p:nvSpPr>
        <p:spPr/>
        <p:txBody>
          <a:bodyPr/>
          <a:lstStyle/>
          <a:p>
            <a:r>
              <a:rPr lang="en-US">
                <a:cs typeface="Segoe UI"/>
              </a:rPr>
              <a:t>Committing Changes</a:t>
            </a:r>
            <a:endParaRPr lang="en-US"/>
          </a:p>
        </p:txBody>
      </p:sp>
      <p:sp>
        <p:nvSpPr>
          <p:cNvPr id="2" name="Text Placeholder 1">
            <a:extLst>
              <a:ext uri="{FF2B5EF4-FFF2-40B4-BE49-F238E27FC236}">
                <a16:creationId xmlns:a16="http://schemas.microsoft.com/office/drawing/2014/main" id="{F92BF848-BD86-4C1C-B48C-FBDF68FF9BB2}"/>
              </a:ext>
            </a:extLst>
          </p:cNvPr>
          <p:cNvSpPr>
            <a:spLocks noGrp="1"/>
          </p:cNvSpPr>
          <p:nvPr>
            <p:ph sz="quarter" idx="13"/>
          </p:nvPr>
        </p:nvSpPr>
        <p:spPr/>
        <p:txBody>
          <a:bodyPr vert="horz" lIns="0" tIns="0" rIns="0" bIns="0" rtlCol="0" anchor="t">
            <a:normAutofit/>
          </a:bodyPr>
          <a:lstStyle/>
          <a:p>
            <a:pPr marL="310515" indent="-310515"/>
            <a:r>
              <a:rPr lang="en-US" b="1">
                <a:cs typeface="Segoe UI"/>
              </a:rPr>
              <a:t>Commit all changes</a:t>
            </a:r>
            <a:r>
              <a:rPr lang="en-US">
                <a:cs typeface="Segoe UI"/>
              </a:rPr>
              <a:t> – </a:t>
            </a:r>
            <a:r>
              <a:rPr lang="en-US" i="1">
                <a:cs typeface="Segoe UI"/>
              </a:rPr>
              <a:t>git commit –m “&lt;commit message&gt;”</a:t>
            </a:r>
          </a:p>
          <a:p>
            <a:pPr marL="310515" indent="-310515"/>
            <a:endParaRPr lang="en-US"/>
          </a:p>
          <a:p>
            <a:pPr marL="310515" indent="-310515"/>
            <a:endParaRPr lang="en-US"/>
          </a:p>
          <a:p>
            <a:pPr marL="310515" indent="-310515"/>
            <a:endParaRPr lang="en-US"/>
          </a:p>
          <a:p>
            <a:pPr marL="310515" indent="-310515"/>
            <a:endParaRPr lang="en-US"/>
          </a:p>
          <a:p>
            <a:pPr marL="310515" indent="-310515"/>
            <a:endParaRPr lang="en-US">
              <a:cs typeface="Segoe UI"/>
            </a:endParaRPr>
          </a:p>
          <a:p>
            <a:pPr marL="310515" indent="-310515"/>
            <a:r>
              <a:rPr lang="en-US">
                <a:cs typeface="Segoe UI"/>
              </a:rPr>
              <a:t>Use the </a:t>
            </a:r>
            <a:r>
              <a:rPr lang="en-US" b="1">
                <a:cs typeface="Segoe UI"/>
              </a:rPr>
              <a:t>–amend</a:t>
            </a:r>
            <a:r>
              <a:rPr lang="en-US">
                <a:cs typeface="Segoe UI"/>
              </a:rPr>
              <a:t> switch to change the last commit</a:t>
            </a:r>
          </a:p>
          <a:p>
            <a:pPr marL="310515" indent="-310515"/>
            <a:endParaRPr lang="en-US"/>
          </a:p>
          <a:p>
            <a:pPr marL="310515" indent="-310515"/>
            <a:endParaRPr lang="en-US"/>
          </a:p>
        </p:txBody>
      </p:sp>
      <p:sp>
        <p:nvSpPr>
          <p:cNvPr id="8" name="Code Box">
            <a:extLst>
              <a:ext uri="{FF2B5EF4-FFF2-40B4-BE49-F238E27FC236}">
                <a16:creationId xmlns:a16="http://schemas.microsoft.com/office/drawing/2014/main" id="{3253C3D2-7C15-4D4A-8F0F-FDDC531CA527}"/>
              </a:ext>
            </a:extLst>
          </p:cNvPr>
          <p:cNvSpPr/>
          <p:nvPr>
            <p:custDataLst>
              <p:tags r:id="rId2"/>
            </p:custDataLst>
          </p:nvPr>
        </p:nvSpPr>
        <p:spPr>
          <a:xfrm>
            <a:off x="655638" y="1953643"/>
            <a:ext cx="10880725" cy="1731962"/>
          </a:xfrm>
          <a:prstGeom prst="rect">
            <a:avLst/>
          </a:prstGeom>
          <a:solidFill>
            <a:srgbClr val="012456"/>
          </a:solidFill>
        </p:spPr>
        <p:txBody>
          <a:bodyPr wrap="square">
            <a:noAutofit/>
          </a:bodyPr>
          <a:lstStyle/>
          <a:p>
            <a:pPr lvl="0" defTabSz="914367">
              <a:defRPr/>
            </a:pPr>
            <a:r>
              <a:rPr lang="en-AU" sz="1800">
                <a:solidFill>
                  <a:schemeClr val="lt1"/>
                </a:solidFill>
                <a:latin typeface="Lucida Console" panose="020B0609040504020204" pitchFamily="49" charset="0"/>
              </a:rPr>
              <a:t>PS c:\MyNewRepository&gt; </a:t>
            </a:r>
            <a:r>
              <a:rPr lang="en-AU" sz="1800">
                <a:solidFill>
                  <a:srgbClr val="FEF000"/>
                </a:solidFill>
                <a:latin typeface="Lucida Console" panose="020B0609040504020204" pitchFamily="49" charset="0"/>
              </a:rPr>
              <a:t>git</a:t>
            </a:r>
            <a:r>
              <a:rPr lang="en-AU" sz="1800">
                <a:solidFill>
                  <a:schemeClr val="lt1"/>
                </a:solidFill>
                <a:latin typeface="Lucida Console" panose="020B0609040504020204" pitchFamily="49" charset="0"/>
              </a:rPr>
              <a:t> commit </a:t>
            </a:r>
            <a:r>
              <a:rPr lang="en-AU" sz="1800">
                <a:solidFill>
                  <a:srgbClr val="FEF000"/>
                </a:solidFill>
                <a:latin typeface="Lucida Console" panose="020B0609040504020204" pitchFamily="49" charset="0"/>
              </a:rPr>
              <a:t>–m </a:t>
            </a:r>
            <a:r>
              <a:rPr lang="en-AU" sz="1800">
                <a:solidFill>
                  <a:schemeClr val="lt1"/>
                </a:solidFill>
                <a:latin typeface="Lucida Console" panose="020B0609040504020204" pitchFamily="49" charset="0"/>
              </a:rPr>
              <a:t>"Altered commit" --amend</a:t>
            </a:r>
          </a:p>
          <a:p>
            <a:r>
              <a:rPr lang="en-AU" sz="1800">
                <a:solidFill>
                  <a:schemeClr val="lt1"/>
                </a:solidFill>
                <a:latin typeface="Lucida Console" panose="020B0609040504020204" pitchFamily="49" charset="0"/>
              </a:rPr>
              <a:t>[master 67b2b30] Altered commit</a:t>
            </a:r>
          </a:p>
          <a:p>
            <a:r>
              <a:rPr lang="en-AU" sz="1800">
                <a:solidFill>
                  <a:schemeClr val="lt1"/>
                </a:solidFill>
                <a:latin typeface="Lucida Console" panose="020B0609040504020204" pitchFamily="49" charset="0"/>
              </a:rPr>
              <a:t> Date: Tue Apr 10 16:21:50 2018 +1000</a:t>
            </a:r>
          </a:p>
          <a:p>
            <a:r>
              <a:rPr lang="en-AU" sz="1800">
                <a:solidFill>
                  <a:schemeClr val="lt1"/>
                </a:solidFill>
                <a:latin typeface="Lucida Console" panose="020B0609040504020204" pitchFamily="49" charset="0"/>
              </a:rPr>
              <a:t> 1 file changed, 0 insertions(+), 0 deletions(-)</a:t>
            </a:r>
          </a:p>
          <a:p>
            <a:r>
              <a:rPr lang="en-AU" sz="1800">
                <a:solidFill>
                  <a:schemeClr val="lt1"/>
                </a:solidFill>
                <a:latin typeface="Lucida Console" panose="020B0609040504020204" pitchFamily="49" charset="0"/>
              </a:rPr>
              <a:t> create mode 100644 script.txt</a:t>
            </a:r>
          </a:p>
          <a:p>
            <a:r>
              <a:rPr lang="en-AU" sz="1800">
                <a:solidFill>
                  <a:schemeClr val="lt1"/>
                </a:solidFill>
                <a:latin typeface="Lucida Console" panose="020B0609040504020204" pitchFamily="49" charset="0"/>
              </a:rPr>
              <a:t>PS c:\MyNewRepository&gt; </a:t>
            </a:r>
          </a:p>
        </p:txBody>
      </p:sp>
      <p:sp>
        <p:nvSpPr>
          <p:cNvPr id="9" name="Code Box">
            <a:extLst>
              <a:ext uri="{FF2B5EF4-FFF2-40B4-BE49-F238E27FC236}">
                <a16:creationId xmlns:a16="http://schemas.microsoft.com/office/drawing/2014/main" id="{7EB53857-6044-4BD7-848D-EF885D48417B}"/>
              </a:ext>
            </a:extLst>
          </p:cNvPr>
          <p:cNvSpPr/>
          <p:nvPr>
            <p:custDataLst>
              <p:tags r:id="rId3"/>
            </p:custDataLst>
          </p:nvPr>
        </p:nvSpPr>
        <p:spPr>
          <a:xfrm>
            <a:off x="655638" y="4516396"/>
            <a:ext cx="10880725" cy="1731962"/>
          </a:xfrm>
          <a:prstGeom prst="rect">
            <a:avLst/>
          </a:prstGeom>
          <a:solidFill>
            <a:srgbClr val="012456"/>
          </a:solidFill>
        </p:spPr>
        <p:txBody>
          <a:bodyPr wrap="square">
            <a:noAutofit/>
          </a:bodyPr>
          <a:lstStyle/>
          <a:p>
            <a:pPr lvl="0" defTabSz="914367">
              <a:defRPr/>
            </a:pPr>
            <a:r>
              <a:rPr lang="en-AU" sz="1800">
                <a:solidFill>
                  <a:schemeClr val="lt1"/>
                </a:solidFill>
                <a:latin typeface="Lucida Console" panose="020B0609040504020204" pitchFamily="49" charset="0"/>
              </a:rPr>
              <a:t>PS c:\MyNewRepository&gt; </a:t>
            </a:r>
            <a:r>
              <a:rPr lang="en-AU" sz="1800">
                <a:solidFill>
                  <a:srgbClr val="FEF000"/>
                </a:solidFill>
                <a:latin typeface="Lucida Console" panose="020B0609040504020204" pitchFamily="49" charset="0"/>
              </a:rPr>
              <a:t>git</a:t>
            </a:r>
            <a:r>
              <a:rPr lang="en-AU" sz="1800">
                <a:solidFill>
                  <a:schemeClr val="lt1"/>
                </a:solidFill>
                <a:latin typeface="Lucida Console" panose="020B0609040504020204" pitchFamily="49" charset="0"/>
              </a:rPr>
              <a:t> commit </a:t>
            </a:r>
            <a:r>
              <a:rPr lang="en-AU" sz="1800">
                <a:solidFill>
                  <a:srgbClr val="FEF000"/>
                </a:solidFill>
                <a:latin typeface="Lucida Console" panose="020B0609040504020204" pitchFamily="49" charset="0"/>
              </a:rPr>
              <a:t>–m </a:t>
            </a:r>
            <a:r>
              <a:rPr lang="en-AU" sz="1800">
                <a:solidFill>
                  <a:schemeClr val="lt1"/>
                </a:solidFill>
                <a:latin typeface="Lucida Console" panose="020B0609040504020204" pitchFamily="49" charset="0"/>
              </a:rPr>
              <a:t>"Altered commit" --amend</a:t>
            </a:r>
          </a:p>
          <a:p>
            <a:r>
              <a:rPr lang="en-AU" sz="1800">
                <a:solidFill>
                  <a:schemeClr val="lt1"/>
                </a:solidFill>
                <a:latin typeface="Lucida Console" panose="020B0609040504020204" pitchFamily="49" charset="0"/>
              </a:rPr>
              <a:t>[master 67b2b30] Altered commit</a:t>
            </a:r>
          </a:p>
          <a:p>
            <a:r>
              <a:rPr lang="en-AU" sz="1800">
                <a:solidFill>
                  <a:schemeClr val="lt1"/>
                </a:solidFill>
                <a:latin typeface="Lucida Console" panose="020B0609040504020204" pitchFamily="49" charset="0"/>
              </a:rPr>
              <a:t> Date: Tue Apr 10 16:21:50 2018 +1000</a:t>
            </a:r>
          </a:p>
          <a:p>
            <a:r>
              <a:rPr lang="en-AU" sz="1800">
                <a:solidFill>
                  <a:schemeClr val="lt1"/>
                </a:solidFill>
                <a:latin typeface="Lucida Console" panose="020B0609040504020204" pitchFamily="49" charset="0"/>
              </a:rPr>
              <a:t> 1 file changed, 0 insertions(+), 0 deletions(-)</a:t>
            </a:r>
          </a:p>
          <a:p>
            <a:r>
              <a:rPr lang="en-AU" sz="1800">
                <a:solidFill>
                  <a:schemeClr val="lt1"/>
                </a:solidFill>
                <a:latin typeface="Lucida Console" panose="020B0609040504020204" pitchFamily="49" charset="0"/>
              </a:rPr>
              <a:t> create mode 100644 script.txt</a:t>
            </a:r>
          </a:p>
          <a:p>
            <a:r>
              <a:rPr lang="en-AU" sz="1800">
                <a:solidFill>
                  <a:schemeClr val="lt1"/>
                </a:solidFill>
                <a:latin typeface="Lucida Console" panose="020B0609040504020204" pitchFamily="49" charset="0"/>
              </a:rPr>
              <a:t>PS c:\MyNewRepository&gt; </a:t>
            </a:r>
          </a:p>
        </p:txBody>
      </p:sp>
    </p:spTree>
    <p:custDataLst>
      <p:tags r:id="rId1"/>
    </p:custDataLst>
    <p:extLst>
      <p:ext uri="{BB962C8B-B14F-4D97-AF65-F5344CB8AC3E}">
        <p14:creationId xmlns:p14="http://schemas.microsoft.com/office/powerpoint/2010/main" val="3851443998"/>
      </p:ext>
    </p:extLst>
  </p:cSld>
  <p:clrMapOvr>
    <a:masterClrMapping/>
  </p:clrMapOvr>
  <p:transition spd="slow"/>
</p:sld>
</file>

<file path=ppt/slides/slide2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D2C87F-A94F-4D57-BE3D-E188B69E3BAD}"/>
              </a:ext>
            </a:extLst>
          </p:cNvPr>
          <p:cNvSpPr>
            <a:spLocks noGrp="1"/>
          </p:cNvSpPr>
          <p:nvPr>
            <p:ph type="title"/>
          </p:nvPr>
        </p:nvSpPr>
        <p:spPr/>
        <p:txBody>
          <a:bodyPr/>
          <a:lstStyle/>
          <a:p>
            <a:r>
              <a:rPr lang="en-US">
                <a:cs typeface="Segoe UI"/>
              </a:rPr>
              <a:t>Viewing History</a:t>
            </a:r>
            <a:endParaRPr lang="en-US"/>
          </a:p>
        </p:txBody>
      </p:sp>
      <p:sp>
        <p:nvSpPr>
          <p:cNvPr id="2" name="Text Placeholder 1">
            <a:extLst>
              <a:ext uri="{FF2B5EF4-FFF2-40B4-BE49-F238E27FC236}">
                <a16:creationId xmlns:a16="http://schemas.microsoft.com/office/drawing/2014/main" id="{6573A100-CA6D-4B5D-8408-9A2EE736F38A}"/>
              </a:ext>
            </a:extLst>
          </p:cNvPr>
          <p:cNvSpPr>
            <a:spLocks noGrp="1"/>
          </p:cNvSpPr>
          <p:nvPr>
            <p:ph type="subTitle" idx="1"/>
          </p:nvPr>
        </p:nvSpPr>
        <p:spPr/>
        <p:txBody>
          <a:bodyPr/>
          <a:lstStyle/>
          <a:p>
            <a:r>
              <a:rPr lang="en-US"/>
              <a:t>Git log</a:t>
            </a:r>
          </a:p>
        </p:txBody>
      </p:sp>
      <p:sp>
        <p:nvSpPr>
          <p:cNvPr id="6" name="Code Box">
            <a:extLst>
              <a:ext uri="{FF2B5EF4-FFF2-40B4-BE49-F238E27FC236}">
                <a16:creationId xmlns:a16="http://schemas.microsoft.com/office/drawing/2014/main" id="{57F21D56-4AF5-4BA9-830A-68C97D8DA718}"/>
              </a:ext>
            </a:extLst>
          </p:cNvPr>
          <p:cNvSpPr/>
          <p:nvPr>
            <p:custDataLst>
              <p:tags r:id="rId2"/>
            </p:custDataLst>
          </p:nvPr>
        </p:nvSpPr>
        <p:spPr>
          <a:xfrm>
            <a:off x="655638" y="1408113"/>
            <a:ext cx="10880725" cy="4819653"/>
          </a:xfrm>
          <a:prstGeom prst="rect">
            <a:avLst/>
          </a:prstGeom>
          <a:solidFill>
            <a:srgbClr val="012456"/>
          </a:solidFill>
        </p:spPr>
        <p:txBody>
          <a:bodyPr wrap="square" anchor="t">
            <a:noAutofit/>
          </a:bodyPr>
          <a:lstStyle/>
          <a:p>
            <a:pPr lvl="0" defTabSz="914367">
              <a:defRPr/>
            </a:pPr>
            <a:r>
              <a:rPr lang="en-AU" sz="2000">
                <a:solidFill>
                  <a:schemeClr val="lt1"/>
                </a:solidFill>
                <a:latin typeface="Lucida Console"/>
              </a:rPr>
              <a:t>PS c:\MyNewRepository&gt; </a:t>
            </a:r>
            <a:r>
              <a:rPr lang="en-AU" sz="2000">
                <a:solidFill>
                  <a:srgbClr val="FEF000"/>
                </a:solidFill>
                <a:latin typeface="Lucida Console"/>
              </a:rPr>
              <a:t>git</a:t>
            </a:r>
            <a:r>
              <a:rPr lang="en-AU" sz="2000">
                <a:solidFill>
                  <a:schemeClr val="lt1"/>
                </a:solidFill>
                <a:latin typeface="Lucida Console"/>
              </a:rPr>
              <a:t> log</a:t>
            </a:r>
          </a:p>
          <a:p>
            <a:pPr lvl="0" defTabSz="914367">
              <a:defRPr/>
            </a:pPr>
            <a:r>
              <a:rPr lang="en-AU" sz="2000">
                <a:solidFill>
                  <a:schemeClr val="lt1"/>
                </a:solidFill>
                <a:latin typeface="Lucida Console"/>
              </a:rPr>
              <a:t>Commit ebf96ff9862bc450a4b61c48742c0ec64639d1c (</a:t>
            </a:r>
            <a:r>
              <a:rPr lang="en-AU" sz="2000">
                <a:solidFill>
                  <a:schemeClr val="bg2"/>
                </a:solidFill>
                <a:latin typeface="Lucida Console"/>
              </a:rPr>
              <a:t>HEAD -&gt; </a:t>
            </a:r>
            <a:r>
              <a:rPr lang="en-AU" sz="2000">
                <a:solidFill>
                  <a:schemeClr val="accent4"/>
                </a:solidFill>
                <a:latin typeface="Lucida Console"/>
              </a:rPr>
              <a:t>master</a:t>
            </a:r>
            <a:r>
              <a:rPr lang="en-AU" sz="2000">
                <a:solidFill>
                  <a:schemeClr val="lt1"/>
                </a:solidFill>
                <a:latin typeface="Lucida Console"/>
              </a:rPr>
              <a:t>)</a:t>
            </a:r>
          </a:p>
          <a:p>
            <a:r>
              <a:rPr lang="en-AU" sz="2000">
                <a:solidFill>
                  <a:schemeClr val="lt1"/>
                </a:solidFill>
                <a:latin typeface="Lucida Console"/>
              </a:rPr>
              <a:t>Author: Anthony </a:t>
            </a:r>
            <a:r>
              <a:rPr lang="en-AU" sz="2000" err="1">
                <a:solidFill>
                  <a:schemeClr val="lt1"/>
                </a:solidFill>
                <a:latin typeface="Lucida Console"/>
              </a:rPr>
              <a:t>Watherston</a:t>
            </a:r>
            <a:r>
              <a:rPr lang="en-AU" sz="2000">
                <a:solidFill>
                  <a:schemeClr val="lt1"/>
                </a:solidFill>
                <a:latin typeface="Lucida Console"/>
              </a:rPr>
              <a:t> &lt;anwather@contoso.com&gt;</a:t>
            </a:r>
          </a:p>
          <a:p>
            <a:r>
              <a:rPr lang="en-AU" sz="2000">
                <a:solidFill>
                  <a:schemeClr val="lt1"/>
                </a:solidFill>
                <a:latin typeface="Lucida Console"/>
              </a:rPr>
              <a:t>Date    Tue Apr 10 16:25:40 2018 +1000</a:t>
            </a:r>
          </a:p>
          <a:p>
            <a:endParaRPr lang="en-AU" sz="2000">
              <a:solidFill>
                <a:schemeClr val="lt1"/>
              </a:solidFill>
              <a:latin typeface="Lucida Console" panose="020B0609040504020204" pitchFamily="49" charset="0"/>
            </a:endParaRPr>
          </a:p>
          <a:p>
            <a:r>
              <a:rPr lang="en-AU" sz="2000">
                <a:solidFill>
                  <a:schemeClr val="lt1"/>
                </a:solidFill>
                <a:latin typeface="Lucida Console"/>
              </a:rPr>
              <a:t>    Made a small change</a:t>
            </a:r>
          </a:p>
          <a:p>
            <a:endParaRPr lang="en-AU" sz="2000">
              <a:solidFill>
                <a:schemeClr val="lt1"/>
              </a:solidFill>
              <a:latin typeface="Lucida Console" panose="020B0609040504020204" pitchFamily="49" charset="0"/>
            </a:endParaRPr>
          </a:p>
          <a:p>
            <a:pPr defTabSz="914367">
              <a:defRPr/>
            </a:pPr>
            <a:r>
              <a:rPr lang="en-AU" sz="2000">
                <a:solidFill>
                  <a:schemeClr val="lt1"/>
                </a:solidFill>
                <a:latin typeface="Lucida Console"/>
              </a:rPr>
              <a:t>Commit 67b2b30e8cc6b8167ba947a55440730951ac44bq </a:t>
            </a:r>
            <a:endParaRPr lang="en-AU" sz="2000">
              <a:solidFill>
                <a:schemeClr val="lt1"/>
              </a:solidFill>
              <a:latin typeface="Lucida Console" panose="020B0609040504020204" pitchFamily="49" charset="0"/>
            </a:endParaRPr>
          </a:p>
          <a:p>
            <a:r>
              <a:rPr lang="en-AU" sz="2000">
                <a:solidFill>
                  <a:schemeClr val="lt1"/>
                </a:solidFill>
                <a:latin typeface="Lucida Console"/>
              </a:rPr>
              <a:t>Author: Anthony </a:t>
            </a:r>
            <a:r>
              <a:rPr lang="en-AU" sz="2000" err="1">
                <a:solidFill>
                  <a:schemeClr val="lt1"/>
                </a:solidFill>
                <a:latin typeface="Lucida Console"/>
              </a:rPr>
              <a:t>Watherston</a:t>
            </a:r>
            <a:r>
              <a:rPr lang="en-AU" sz="2000">
                <a:solidFill>
                  <a:schemeClr val="lt1"/>
                </a:solidFill>
                <a:latin typeface="Lucida Console"/>
              </a:rPr>
              <a:t> &lt;anwather@contoso.com&gt;</a:t>
            </a:r>
          </a:p>
          <a:p>
            <a:r>
              <a:rPr lang="en-AU" sz="2000">
                <a:solidFill>
                  <a:schemeClr val="lt1"/>
                </a:solidFill>
                <a:latin typeface="Lucida Console"/>
              </a:rPr>
              <a:t>Date    Tue Apr 10 16:25:40 2018 +1000</a:t>
            </a:r>
          </a:p>
          <a:p>
            <a:endParaRPr lang="en-AU" sz="2000">
              <a:solidFill>
                <a:schemeClr val="lt1"/>
              </a:solidFill>
              <a:latin typeface="Lucida Console" panose="020B0609040504020204" pitchFamily="49" charset="0"/>
            </a:endParaRPr>
          </a:p>
          <a:p>
            <a:r>
              <a:rPr lang="en-AU" sz="2000">
                <a:solidFill>
                  <a:schemeClr val="lt1"/>
                </a:solidFill>
                <a:latin typeface="Lucida Console"/>
              </a:rPr>
              <a:t>     Altered commit</a:t>
            </a:r>
          </a:p>
          <a:p>
            <a:endParaRPr lang="en-AU" sz="1800">
              <a:solidFill>
                <a:srgbClr val="F5F5F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2132298953"/>
      </p:ext>
    </p:extLst>
  </p:cSld>
  <p:clrMapOvr>
    <a:masterClrMapping/>
  </p:clrMapOvr>
  <p:transition spd="slow"/>
</p:sld>
</file>

<file path=ppt/slides/slide2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7DE3C3-3372-4335-83C8-ECF77904BA69}"/>
              </a:ext>
            </a:extLst>
          </p:cNvPr>
          <p:cNvSpPr>
            <a:spLocks noGrp="1"/>
          </p:cNvSpPr>
          <p:nvPr>
            <p:ph type="title"/>
          </p:nvPr>
        </p:nvSpPr>
        <p:spPr/>
        <p:txBody>
          <a:bodyPr/>
          <a:lstStyle/>
          <a:p>
            <a:r>
              <a:rPr lang="en-US">
                <a:cs typeface="Segoe UI"/>
              </a:rPr>
              <a:t>History Options</a:t>
            </a:r>
            <a:endParaRPr lang="en-US"/>
          </a:p>
        </p:txBody>
      </p:sp>
      <p:sp>
        <p:nvSpPr>
          <p:cNvPr id="2" name="Text Placeholder 1">
            <a:extLst>
              <a:ext uri="{FF2B5EF4-FFF2-40B4-BE49-F238E27FC236}">
                <a16:creationId xmlns:a16="http://schemas.microsoft.com/office/drawing/2014/main" id="{CAEA3014-A7DB-4473-BE91-422A288FC3DD}"/>
              </a:ext>
            </a:extLst>
          </p:cNvPr>
          <p:cNvSpPr>
            <a:spLocks noGrp="1"/>
          </p:cNvSpPr>
          <p:nvPr>
            <p:ph sz="quarter" idx="13"/>
          </p:nvPr>
        </p:nvSpPr>
        <p:spPr/>
        <p:txBody>
          <a:bodyPr/>
          <a:lstStyle/>
          <a:p>
            <a:r>
              <a:rPr lang="en-US"/>
              <a:t>Many options to condense output and add decorations</a:t>
            </a:r>
          </a:p>
          <a:p>
            <a:endParaRPr lang="en-US"/>
          </a:p>
          <a:p>
            <a:endParaRPr lang="en-US"/>
          </a:p>
          <a:p>
            <a:endParaRPr lang="en-US"/>
          </a:p>
          <a:p>
            <a:endParaRPr lang="en-US"/>
          </a:p>
          <a:p>
            <a:endParaRPr lang="en-US"/>
          </a:p>
          <a:p>
            <a:endParaRPr lang="en-US"/>
          </a:p>
          <a:p>
            <a:endParaRPr lang="en-US"/>
          </a:p>
          <a:p>
            <a:endParaRPr lang="en-US"/>
          </a:p>
        </p:txBody>
      </p:sp>
      <p:sp>
        <p:nvSpPr>
          <p:cNvPr id="6" name="Code Box">
            <a:extLst>
              <a:ext uri="{FF2B5EF4-FFF2-40B4-BE49-F238E27FC236}">
                <a16:creationId xmlns:a16="http://schemas.microsoft.com/office/drawing/2014/main" id="{7F6A4FEE-D3C6-4BDD-A5BC-4F5A4F812BDA}"/>
              </a:ext>
            </a:extLst>
          </p:cNvPr>
          <p:cNvSpPr/>
          <p:nvPr>
            <p:custDataLst>
              <p:tags r:id="rId2"/>
            </p:custDataLst>
          </p:nvPr>
        </p:nvSpPr>
        <p:spPr>
          <a:xfrm>
            <a:off x="655638" y="2133600"/>
            <a:ext cx="10880725" cy="2304496"/>
          </a:xfrm>
          <a:prstGeom prst="rect">
            <a:avLst/>
          </a:prstGeom>
          <a:solidFill>
            <a:srgbClr val="012456"/>
          </a:solidFill>
        </p:spPr>
        <p:txBody>
          <a:bodyPr wrap="square" anchor="t">
            <a:noAutofit/>
          </a:bodyPr>
          <a:lstStyle/>
          <a:p>
            <a:pPr lvl="0" defTabSz="914367">
              <a:defRPr/>
            </a:pPr>
            <a:r>
              <a:rPr lang="en-AU" sz="2000">
                <a:solidFill>
                  <a:schemeClr val="lt1"/>
                </a:solidFill>
                <a:latin typeface="Lucida Console"/>
              </a:rPr>
              <a:t>PS c:\MyNewRepository&gt; </a:t>
            </a:r>
            <a:r>
              <a:rPr lang="en-AU" sz="2000">
                <a:solidFill>
                  <a:srgbClr val="FEF000"/>
                </a:solidFill>
                <a:latin typeface="Lucida Console"/>
              </a:rPr>
              <a:t>git</a:t>
            </a:r>
            <a:r>
              <a:rPr lang="en-AU" sz="2000">
                <a:solidFill>
                  <a:schemeClr val="lt1"/>
                </a:solidFill>
                <a:latin typeface="Lucida Console"/>
              </a:rPr>
              <a:t> log --</a:t>
            </a:r>
            <a:r>
              <a:rPr lang="en-AU" sz="2000" err="1">
                <a:solidFill>
                  <a:schemeClr val="lt1"/>
                </a:solidFill>
                <a:latin typeface="Lucida Console"/>
              </a:rPr>
              <a:t>oneline</a:t>
            </a:r>
            <a:endParaRPr lang="en-AU" sz="2000">
              <a:solidFill>
                <a:schemeClr val="lt1"/>
              </a:solidFill>
              <a:latin typeface="Lucida Console"/>
            </a:endParaRPr>
          </a:p>
          <a:p>
            <a:pPr lvl="0" defTabSz="914367">
              <a:defRPr/>
            </a:pPr>
            <a:r>
              <a:rPr lang="en-AU" sz="2000">
                <a:solidFill>
                  <a:schemeClr val="lt1"/>
                </a:solidFill>
                <a:latin typeface="Lucida Console"/>
              </a:rPr>
              <a:t>ebf96ff (</a:t>
            </a:r>
            <a:r>
              <a:rPr lang="en-AU" sz="2000">
                <a:solidFill>
                  <a:schemeClr val="bg2"/>
                </a:solidFill>
                <a:latin typeface="Lucida Console"/>
              </a:rPr>
              <a:t>HEAD -&gt; </a:t>
            </a:r>
            <a:r>
              <a:rPr lang="en-AU" sz="2000">
                <a:solidFill>
                  <a:schemeClr val="accent4"/>
                </a:solidFill>
                <a:latin typeface="Lucida Console"/>
              </a:rPr>
              <a:t>master</a:t>
            </a:r>
            <a:r>
              <a:rPr lang="en-AU" sz="2000">
                <a:solidFill>
                  <a:schemeClr val="lt1"/>
                </a:solidFill>
                <a:latin typeface="Lucida Console"/>
              </a:rPr>
              <a:t>) Made a small change</a:t>
            </a:r>
          </a:p>
          <a:p>
            <a:pPr lvl="0" defTabSz="914367">
              <a:defRPr/>
            </a:pPr>
            <a:r>
              <a:rPr lang="en-AU" sz="2000">
                <a:solidFill>
                  <a:schemeClr val="lt1"/>
                </a:solidFill>
                <a:latin typeface="Lucida Console"/>
              </a:rPr>
              <a:t>Commit 67b2b30 Altered commit</a:t>
            </a:r>
          </a:p>
          <a:p>
            <a:pPr lvl="0" defTabSz="914367">
              <a:defRPr/>
            </a:pPr>
            <a:r>
              <a:rPr lang="en-AU" sz="2000">
                <a:solidFill>
                  <a:schemeClr val="lt1"/>
                </a:solidFill>
                <a:latin typeface="Lucida Console"/>
              </a:rPr>
              <a:t>PS c:\MyNewRepository&gt; </a:t>
            </a:r>
            <a:r>
              <a:rPr lang="en-AU" sz="2000">
                <a:solidFill>
                  <a:srgbClr val="FEF000"/>
                </a:solidFill>
                <a:latin typeface="Lucida Console"/>
              </a:rPr>
              <a:t>git</a:t>
            </a:r>
            <a:r>
              <a:rPr lang="en-AU" sz="2000">
                <a:solidFill>
                  <a:schemeClr val="lt1"/>
                </a:solidFill>
                <a:latin typeface="Lucida Console"/>
              </a:rPr>
              <a:t> log –</a:t>
            </a:r>
            <a:r>
              <a:rPr lang="en-AU" sz="2000" err="1">
                <a:solidFill>
                  <a:schemeClr val="lt1"/>
                </a:solidFill>
                <a:latin typeface="Lucida Console"/>
              </a:rPr>
              <a:t>oneline</a:t>
            </a:r>
            <a:r>
              <a:rPr lang="en-AU" sz="2000">
                <a:solidFill>
                  <a:schemeClr val="lt1"/>
                </a:solidFill>
                <a:latin typeface="Lucida Console"/>
              </a:rPr>
              <a:t> --graph</a:t>
            </a:r>
          </a:p>
          <a:p>
            <a:pPr lvl="0" defTabSz="914367">
              <a:defRPr/>
            </a:pPr>
            <a:r>
              <a:rPr lang="en-AU" sz="2000">
                <a:solidFill>
                  <a:schemeClr val="lt1"/>
                </a:solidFill>
                <a:latin typeface="Lucida Console"/>
              </a:rPr>
              <a:t>* ebf96ff (</a:t>
            </a:r>
            <a:r>
              <a:rPr lang="en-AU" sz="2000">
                <a:solidFill>
                  <a:schemeClr val="bg2"/>
                </a:solidFill>
                <a:latin typeface="Lucida Console"/>
              </a:rPr>
              <a:t>HEAD -&gt; </a:t>
            </a:r>
            <a:r>
              <a:rPr lang="en-AU" sz="2000">
                <a:solidFill>
                  <a:schemeClr val="accent4"/>
                </a:solidFill>
                <a:latin typeface="Lucida Console"/>
              </a:rPr>
              <a:t>master</a:t>
            </a:r>
            <a:r>
              <a:rPr lang="en-AU" sz="2000">
                <a:solidFill>
                  <a:schemeClr val="lt1"/>
                </a:solidFill>
                <a:latin typeface="Lucida Console"/>
              </a:rPr>
              <a:t>) Made a small change</a:t>
            </a:r>
          </a:p>
          <a:p>
            <a:pPr lvl="0" defTabSz="914367">
              <a:defRPr/>
            </a:pPr>
            <a:r>
              <a:rPr lang="en-AU" sz="2000">
                <a:solidFill>
                  <a:schemeClr val="lt1"/>
                </a:solidFill>
                <a:latin typeface="Lucida Console"/>
              </a:rPr>
              <a:t>* Commit 67b2b30 Altered commit</a:t>
            </a:r>
          </a:p>
          <a:p>
            <a:pPr defTabSz="914367">
              <a:defRPr/>
            </a:pPr>
            <a:r>
              <a:rPr lang="en-AU" sz="2000">
                <a:solidFill>
                  <a:schemeClr val="lt1"/>
                </a:solidFill>
                <a:latin typeface="Lucida Console"/>
              </a:rPr>
              <a:t>PS c:\MyNewRepository&gt; </a:t>
            </a:r>
            <a:endParaRPr lang="en-AU" sz="2000">
              <a:solidFill>
                <a:schemeClr val="lt1"/>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347594832"/>
      </p:ext>
    </p:extLst>
  </p:cSld>
  <p:clrMapOvr>
    <a:masterClrMapping/>
  </p:clrMapOvr>
  <p:transition spd="slow"/>
</p:sld>
</file>

<file path=ppt/slides/slide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t>Git setup</a:t>
            </a:r>
          </a:p>
        </p:txBody>
      </p:sp>
    </p:spTree>
    <p:custDataLst>
      <p:tags r:id="rId1"/>
    </p:custDataLst>
    <p:extLst>
      <p:ext uri="{BB962C8B-B14F-4D97-AF65-F5344CB8AC3E}">
        <p14:creationId xmlns:p14="http://schemas.microsoft.com/office/powerpoint/2010/main" val="722356735"/>
      </p:ext>
    </p:extLst>
  </p:cSld>
  <p:clrMapOvr>
    <a:masterClrMapping/>
  </p:clrMapOvr>
  <p:transition spd="slow"/>
</p:sld>
</file>

<file path=ppt/slides/slide3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7DE3C3-3372-4335-83C8-ECF77904BA69}"/>
              </a:ext>
            </a:extLst>
          </p:cNvPr>
          <p:cNvSpPr>
            <a:spLocks noGrp="1"/>
          </p:cNvSpPr>
          <p:nvPr>
            <p:ph type="title"/>
          </p:nvPr>
        </p:nvSpPr>
        <p:spPr>
          <a:prstGeom prst="rect">
            <a:avLst/>
          </a:prstGeom>
          <a:ln>
            <a:noFill/>
          </a:ln>
        </p:spPr>
        <p:txBody>
          <a:bodyPr wrap="square" anchor="t">
            <a:normAutofit/>
          </a:bodyPr>
          <a:lstStyle/>
          <a:p>
            <a:r>
              <a:rPr lang="en-US">
                <a:cs typeface="Segoe UI"/>
              </a:rPr>
              <a:t>History Options Cont.</a:t>
            </a:r>
          </a:p>
        </p:txBody>
      </p:sp>
      <p:sp>
        <p:nvSpPr>
          <p:cNvPr id="2" name="Text Placeholder 1">
            <a:extLst>
              <a:ext uri="{FF2B5EF4-FFF2-40B4-BE49-F238E27FC236}">
                <a16:creationId xmlns:a16="http://schemas.microsoft.com/office/drawing/2014/main" id="{CAEA3014-A7DB-4473-BE91-422A288FC3DD}"/>
              </a:ext>
            </a:extLst>
          </p:cNvPr>
          <p:cNvSpPr>
            <a:spLocks noGrp="1"/>
          </p:cNvSpPr>
          <p:nvPr>
            <p:ph type="body" sz="quarter" idx="16"/>
          </p:nvPr>
        </p:nvSpPr>
        <p:spPr>
          <a:prstGeom prst="rect">
            <a:avLst/>
          </a:prstGeom>
        </p:spPr>
        <p:txBody>
          <a:bodyPr>
            <a:normAutofit/>
          </a:bodyPr>
          <a:lstStyle/>
          <a:p>
            <a:r>
              <a:rPr lang="en-US"/>
              <a:t>Use </a:t>
            </a:r>
            <a:r>
              <a:rPr lang="en-US" b="1"/>
              <a:t>gitk</a:t>
            </a:r>
            <a:r>
              <a:rPr lang="en-US"/>
              <a:t> for a GUI history</a:t>
            </a:r>
          </a:p>
          <a:p>
            <a:endParaRPr lang="en-US"/>
          </a:p>
          <a:p>
            <a:endParaRPr lang="en-US"/>
          </a:p>
        </p:txBody>
      </p:sp>
      <p:pic>
        <p:nvPicPr>
          <p:cNvPr id="4" name="Picture 3">
            <a:extLst>
              <a:ext uri="{FF2B5EF4-FFF2-40B4-BE49-F238E27FC236}">
                <a16:creationId xmlns:a16="http://schemas.microsoft.com/office/drawing/2014/main" id="{5F081B20-B163-4622-AD5D-7EEC3A9600C9}"/>
              </a:ext>
            </a:extLst>
          </p:cNvPr>
          <p:cNvPicPr>
            <a:picLocks noChangeAspect="1"/>
          </p:cNvPicPr>
          <p:nvPr/>
        </p:nvPicPr>
        <p:blipFill>
          <a:blip r:embed="rId3"/>
          <a:stretch>
            <a:fillRect/>
          </a:stretch>
        </p:blipFill>
        <p:spPr>
          <a:xfrm>
            <a:off x="5333682" y="1243013"/>
            <a:ext cx="6858000" cy="4371974"/>
          </a:xfrm>
          <a:prstGeom prst="rect">
            <a:avLst/>
          </a:prstGeom>
          <a:noFill/>
        </p:spPr>
      </p:pic>
    </p:spTree>
    <p:custDataLst>
      <p:tags r:id="rId1"/>
    </p:custDataLst>
    <p:extLst>
      <p:ext uri="{BB962C8B-B14F-4D97-AF65-F5344CB8AC3E}">
        <p14:creationId xmlns:p14="http://schemas.microsoft.com/office/powerpoint/2010/main" val="802291280"/>
      </p:ext>
    </p:extLst>
  </p:cSld>
  <p:clrMapOvr>
    <a:masterClrMapping/>
  </p:clrMapOvr>
  <p:transition spd="slow"/>
</p:sld>
</file>

<file path=ppt/slides/slide3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Advanced Feature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69F12759-EF89-4C17-A033-CC93927E3540}"/>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2593067158"/>
      </p:ext>
    </p:extLst>
  </p:cSld>
  <p:clrMapOvr>
    <a:masterClrMapping/>
  </p:clrMapOvr>
  <p:transition spd="slow"/>
</p:sld>
</file>

<file path=ppt/slides/slide3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Git – Introduction</a:t>
            </a:r>
            <a:br>
              <a:rPr lang="en-US"/>
            </a:br>
            <a:r>
              <a:rPr lang="en-US" sz="2400"/>
              <a:t>(30 minutes)</a:t>
            </a:r>
            <a:endParaRPr lang="en-US"/>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Tx/>
              <a:buChar char="-"/>
            </a:pPr>
            <a:r>
              <a:rPr lang="en-US" dirty="0"/>
              <a:t>Installing Git</a:t>
            </a:r>
          </a:p>
          <a:p>
            <a:pPr marL="342900" indent="-342900">
              <a:buFontTx/>
              <a:buChar char="-"/>
            </a:pPr>
            <a:r>
              <a:rPr lang="en-US" dirty="0"/>
              <a:t>Setting up first repository</a:t>
            </a:r>
          </a:p>
          <a:p>
            <a:pPr marL="342900" indent="-342900">
              <a:buFontTx/>
              <a:buChar char="-"/>
            </a:pPr>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338338796"/>
      </p:ext>
    </p:extLst>
  </p:cSld>
  <p:clrMapOvr>
    <a:masterClrMapping/>
  </p:clrMapOvr>
  <p:transition spd="slow"/>
</p:sld>
</file>

<file path=ppt/slides/slide3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789188734"/>
      </p:ext>
    </p:extLst>
  </p:cSld>
  <p:clrMapOvr>
    <a:masterClrMapping/>
  </p:clrMapOvr>
  <p:transition spd="slow"/>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1A7398-7DA4-4966-881D-14DD5A291E7D}"/>
              </a:ext>
            </a:extLst>
          </p:cNvPr>
          <p:cNvSpPr>
            <a:spLocks noGrp="1"/>
          </p:cNvSpPr>
          <p:nvPr>
            <p:ph type="title"/>
          </p:nvPr>
        </p:nvSpPr>
        <p:spPr>
          <a:prstGeom prst="rect">
            <a:avLst/>
          </a:prstGeom>
          <a:ln>
            <a:noFill/>
          </a:ln>
        </p:spPr>
        <p:txBody>
          <a:bodyPr wrap="square" anchor="ctr">
            <a:normAutofit/>
          </a:bodyPr>
          <a:lstStyle/>
          <a:p>
            <a:r>
              <a:rPr lang="en-US"/>
              <a:t>Scenario overview</a:t>
            </a:r>
          </a:p>
        </p:txBody>
      </p:sp>
      <p:sp>
        <p:nvSpPr>
          <p:cNvPr id="11" name="Text Placeholder 4">
            <a:extLst>
              <a:ext uri="{FF2B5EF4-FFF2-40B4-BE49-F238E27FC236}">
                <a16:creationId xmlns:a16="http://schemas.microsoft.com/office/drawing/2014/main" id="{CA9CCA85-D137-4368-A77E-C4CFCAD875C9}"/>
              </a:ext>
            </a:extLst>
          </p:cNvPr>
          <p:cNvSpPr>
            <a:spLocks noGrp="1"/>
          </p:cNvSpPr>
          <p:nvPr>
            <p:ph type="body" sz="quarter" idx="10"/>
          </p:nvPr>
        </p:nvSpPr>
        <p:spPr>
          <a:prstGeom prst="rect">
            <a:avLst/>
          </a:prstGeom>
        </p:spPr>
        <p:txBody>
          <a:bodyPr anchor="ctr">
            <a:normAutofit/>
          </a:bodyPr>
          <a:lstStyle/>
          <a:p>
            <a:r>
              <a:rPr lang="en-US" sz="2200"/>
              <a:t>You are tired of having different versions of the same scripts running in your environment. </a:t>
            </a:r>
          </a:p>
          <a:p>
            <a:endParaRPr lang="en-US" sz="2200"/>
          </a:p>
          <a:p>
            <a:r>
              <a:rPr lang="en-US" sz="2200"/>
              <a:t>You want to be able to leverage version control within your script repository.</a:t>
            </a:r>
          </a:p>
          <a:p>
            <a:endParaRPr lang="en-US" sz="2200"/>
          </a:p>
          <a:p>
            <a:r>
              <a:rPr lang="en-US" sz="2200"/>
              <a:t>Your engineers are confused on updates and which version of a specific script or file they are supposed to be used. </a:t>
            </a:r>
          </a:p>
          <a:p>
            <a:endParaRPr lang="en-US" sz="2200"/>
          </a:p>
          <a:p>
            <a:r>
              <a:rPr lang="en-US" sz="2200"/>
              <a:t>You want control over your scripts used in the production environment. </a:t>
            </a:r>
          </a:p>
        </p:txBody>
      </p:sp>
    </p:spTree>
    <p:custDataLst>
      <p:tags r:id="rId1"/>
    </p:custDataLst>
    <p:extLst>
      <p:ext uri="{BB962C8B-B14F-4D97-AF65-F5344CB8AC3E}">
        <p14:creationId xmlns:p14="http://schemas.microsoft.com/office/powerpoint/2010/main" val="3193650968"/>
      </p:ext>
    </p:extLst>
  </p:cSld>
  <p:clrMapOvr>
    <a:masterClrMapping/>
  </p:clrMapOvr>
  <p:transition spd="slow"/>
</p:sld>
</file>

<file path=ppt/slides/slide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A5EB8F-0A77-4901-B0C1-0C8DA649F69B}"/>
              </a:ext>
            </a:extLst>
          </p:cNvPr>
          <p:cNvSpPr>
            <a:spLocks noGrp="1"/>
          </p:cNvSpPr>
          <p:nvPr>
            <p:ph type="title"/>
          </p:nvPr>
        </p:nvSpPr>
        <p:spPr/>
        <p:txBody>
          <a:bodyPr/>
          <a:lstStyle/>
          <a:p>
            <a:r>
              <a:rPr lang="en-US">
                <a:cs typeface="Segoe UI"/>
              </a:rPr>
              <a:t>What is DevOps?</a:t>
            </a:r>
            <a:endParaRPr lang="en-US"/>
          </a:p>
        </p:txBody>
      </p:sp>
      <p:sp>
        <p:nvSpPr>
          <p:cNvPr id="2" name="Text Placeholder 1">
            <a:extLst>
              <a:ext uri="{FF2B5EF4-FFF2-40B4-BE49-F238E27FC236}">
                <a16:creationId xmlns:a16="http://schemas.microsoft.com/office/drawing/2014/main" id="{21D4964B-AF62-4106-BD5A-5D7621559755}"/>
              </a:ext>
            </a:extLst>
          </p:cNvPr>
          <p:cNvSpPr>
            <a:spLocks noGrp="1"/>
          </p:cNvSpPr>
          <p:nvPr>
            <p:ph sz="quarter" idx="13"/>
          </p:nvPr>
        </p:nvSpPr>
        <p:spPr/>
        <p:txBody>
          <a:bodyPr/>
          <a:lstStyle/>
          <a:p>
            <a:r>
              <a:rPr lang="en-US"/>
              <a:t>The union of people, process, and products to enable continuous delivery of value to your end users.</a:t>
            </a:r>
          </a:p>
          <a:p>
            <a:r>
              <a:rPr lang="en-US"/>
              <a:t>The contraction of “Dev” and “Ops” refers to replacing siloed Development and Operations to create multidisciplinary teams that work together with shared and efficient practices and tools.</a:t>
            </a:r>
          </a:p>
          <a:p>
            <a:endParaRPr lang="en-US"/>
          </a:p>
          <a:p>
            <a:endParaRPr lang="en-US"/>
          </a:p>
        </p:txBody>
      </p:sp>
      <p:pic>
        <p:nvPicPr>
          <p:cNvPr id="4" name="Picture 3">
            <a:extLst>
              <a:ext uri="{FF2B5EF4-FFF2-40B4-BE49-F238E27FC236}">
                <a16:creationId xmlns:a16="http://schemas.microsoft.com/office/drawing/2014/main" id="{379711A5-EE0F-40D1-A4DA-272330DC764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38905" y="3711395"/>
            <a:ext cx="5714190" cy="2857094"/>
          </a:xfrm>
          <a:prstGeom prst="rect">
            <a:avLst/>
          </a:prstGeom>
        </p:spPr>
      </p:pic>
    </p:spTree>
    <p:custDataLst>
      <p:tags r:id="rId1"/>
    </p:custDataLst>
    <p:extLst>
      <p:ext uri="{BB962C8B-B14F-4D97-AF65-F5344CB8AC3E}">
        <p14:creationId xmlns:p14="http://schemas.microsoft.com/office/powerpoint/2010/main" val="4048484401"/>
      </p:ext>
    </p:extLst>
  </p:cSld>
  <p:clrMapOvr>
    <a:masterClrMapping/>
  </p:clrMapOvr>
  <p:transition spd="slow"/>
</p:sld>
</file>

<file path=ppt/slides/slide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1">
            <a:extLst>
              <a:ext uri="{FF2B5EF4-FFF2-40B4-BE49-F238E27FC236}">
                <a16:creationId xmlns:a16="http://schemas.microsoft.com/office/drawing/2014/main" id="{680F60BD-C4A6-4822-A754-A655C260387F}"/>
              </a:ext>
            </a:extLst>
          </p:cNvPr>
          <p:cNvSpPr/>
          <p:nvPr/>
        </p:nvSpPr>
        <p:spPr bwMode="auto">
          <a:xfrm>
            <a:off x="4855230" y="5388940"/>
            <a:ext cx="2297390" cy="498255"/>
          </a:xfrm>
          <a:custGeom>
            <a:avLst/>
            <a:gdLst>
              <a:gd name="connsiteX0" fmla="*/ 0 w 2930774"/>
              <a:gd name="connsiteY0" fmla="*/ 0 h 631311"/>
              <a:gd name="connsiteX1" fmla="*/ 2930774 w 2930774"/>
              <a:gd name="connsiteY1" fmla="*/ 0 h 631311"/>
              <a:gd name="connsiteX2" fmla="*/ 2930774 w 2930774"/>
              <a:gd name="connsiteY2" fmla="*/ 631311 h 631311"/>
              <a:gd name="connsiteX3" fmla="*/ 0 w 2930774"/>
              <a:gd name="connsiteY3" fmla="*/ 631311 h 631311"/>
              <a:gd name="connsiteX4" fmla="*/ 0 w 2930774"/>
              <a:gd name="connsiteY4" fmla="*/ 0 h 631311"/>
              <a:gd name="connsiteX0" fmla="*/ 0 w 3016118"/>
              <a:gd name="connsiteY0" fmla="*/ 0 h 631311"/>
              <a:gd name="connsiteX1" fmla="*/ 2930774 w 3016118"/>
              <a:gd name="connsiteY1" fmla="*/ 0 h 631311"/>
              <a:gd name="connsiteX2" fmla="*/ 3016118 w 3016118"/>
              <a:gd name="connsiteY2" fmla="*/ 631311 h 631311"/>
              <a:gd name="connsiteX3" fmla="*/ 0 w 3016118"/>
              <a:gd name="connsiteY3" fmla="*/ 631311 h 631311"/>
              <a:gd name="connsiteX4" fmla="*/ 0 w 3016118"/>
              <a:gd name="connsiteY4" fmla="*/ 0 h 631311"/>
              <a:gd name="connsiteX0" fmla="*/ 146304 w 3162422"/>
              <a:gd name="connsiteY0" fmla="*/ 0 h 631311"/>
              <a:gd name="connsiteX1" fmla="*/ 3077078 w 3162422"/>
              <a:gd name="connsiteY1" fmla="*/ 0 h 631311"/>
              <a:gd name="connsiteX2" fmla="*/ 3162422 w 3162422"/>
              <a:gd name="connsiteY2" fmla="*/ 631311 h 631311"/>
              <a:gd name="connsiteX3" fmla="*/ 0 w 3162422"/>
              <a:gd name="connsiteY3" fmla="*/ 631311 h 631311"/>
              <a:gd name="connsiteX4" fmla="*/ 146304 w 3162422"/>
              <a:gd name="connsiteY4" fmla="*/ 0 h 631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2422" h="631311">
                <a:moveTo>
                  <a:pt x="146304" y="0"/>
                </a:moveTo>
                <a:lnTo>
                  <a:pt x="3077078" y="0"/>
                </a:lnTo>
                <a:lnTo>
                  <a:pt x="3162422" y="631311"/>
                </a:lnTo>
                <a:lnTo>
                  <a:pt x="0" y="631311"/>
                </a:lnTo>
                <a:lnTo>
                  <a:pt x="146304" y="0"/>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82845" tIns="146275" rIns="182845" bIns="14627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59C4B71E-A7FA-42FD-B64D-D81897719038}"/>
              </a:ext>
            </a:extLst>
          </p:cNvPr>
          <p:cNvSpPr>
            <a:spLocks noGrp="1"/>
          </p:cNvSpPr>
          <p:nvPr>
            <p:ph type="title"/>
          </p:nvPr>
        </p:nvSpPr>
        <p:spPr>
          <a:xfrm>
            <a:off x="655638" y="320040"/>
            <a:ext cx="10880725" cy="923330"/>
          </a:xfrm>
        </p:spPr>
        <p:txBody>
          <a:bodyPr/>
          <a:lstStyle/>
          <a:p>
            <a:r>
              <a:rPr lang="en-US">
                <a:cs typeface="Segoe UI"/>
              </a:rPr>
              <a:t>DevOps – Deliver Faster, Smarter, and Continuously</a:t>
            </a:r>
            <a:br>
              <a:rPr lang="en-US"/>
            </a:br>
            <a:endParaRPr lang="en-US"/>
          </a:p>
        </p:txBody>
      </p:sp>
      <p:sp>
        <p:nvSpPr>
          <p:cNvPr id="4" name="TextBox 3">
            <a:extLst>
              <a:ext uri="{FF2B5EF4-FFF2-40B4-BE49-F238E27FC236}">
                <a16:creationId xmlns:a16="http://schemas.microsoft.com/office/drawing/2014/main" id="{D540DDB2-C4A6-4EEA-86AB-85F917BF9231}"/>
              </a:ext>
            </a:extLst>
          </p:cNvPr>
          <p:cNvSpPr txBox="1"/>
          <p:nvPr/>
        </p:nvSpPr>
        <p:spPr>
          <a:xfrm>
            <a:off x="8011358" y="1408113"/>
            <a:ext cx="3525004" cy="825547"/>
          </a:xfrm>
          <a:prstGeom prst="rect">
            <a:avLst/>
          </a:prstGeom>
          <a:noFill/>
        </p:spPr>
        <p:txBody>
          <a:bodyPr wrap="none" lIns="0" tIns="0" rIns="0" bIns="0" rtlCol="0" anchor="t" anchorCtr="0">
            <a:spAutoFit/>
          </a:bodyPr>
          <a:lstStyle/>
          <a:p>
            <a:pPr defTabSz="913923">
              <a:lnSpc>
                <a:spcPct val="90000"/>
              </a:lnSpc>
              <a:defRPr/>
            </a:pPr>
            <a:r>
              <a:rPr lang="en-US" sz="4000" kern="0" spc="-150">
                <a:gradFill flip="none" rotWithShape="1">
                  <a:gsLst>
                    <a:gs pos="1000">
                      <a:srgbClr val="3B2E58"/>
                    </a:gs>
                    <a:gs pos="100000">
                      <a:srgbClr val="682166"/>
                    </a:gs>
                  </a:gsLst>
                  <a:lin ang="5400000" scaled="0"/>
                  <a:tileRect/>
                </a:gradFill>
                <a:latin typeface="+mj-lt"/>
              </a:rPr>
              <a:t>Monitor + Learn</a:t>
            </a:r>
          </a:p>
          <a:p>
            <a:pPr defTabSz="913923">
              <a:lnSpc>
                <a:spcPct val="90000"/>
              </a:lnSpc>
              <a:defRPr/>
            </a:pPr>
            <a:endParaRPr lang="en-US" sz="1961" kern="0" spc="-60">
              <a:gradFill>
                <a:gsLst>
                  <a:gs pos="1000">
                    <a:srgbClr val="682166"/>
                  </a:gs>
                  <a:gs pos="100000">
                    <a:srgbClr val="682166"/>
                  </a:gs>
                </a:gsLst>
                <a:lin ang="5400000" scaled="0"/>
              </a:gradFill>
              <a:latin typeface="Segoe UI"/>
            </a:endParaRPr>
          </a:p>
        </p:txBody>
      </p:sp>
      <p:grpSp>
        <p:nvGrpSpPr>
          <p:cNvPr id="5" name="Group 4">
            <a:extLst>
              <a:ext uri="{FF2B5EF4-FFF2-40B4-BE49-F238E27FC236}">
                <a16:creationId xmlns:a16="http://schemas.microsoft.com/office/drawing/2014/main" id="{62737C8A-2A89-41DD-B8DE-5E09E4D28306}"/>
              </a:ext>
            </a:extLst>
          </p:cNvPr>
          <p:cNvGrpSpPr/>
          <p:nvPr/>
        </p:nvGrpSpPr>
        <p:grpSpPr>
          <a:xfrm>
            <a:off x="3161956" y="1563288"/>
            <a:ext cx="5868088" cy="4407103"/>
            <a:chOff x="3066564" y="1267312"/>
            <a:chExt cx="5868920" cy="4408353"/>
          </a:xfrm>
        </p:grpSpPr>
        <p:grpSp>
          <p:nvGrpSpPr>
            <p:cNvPr id="6" name="Group 5">
              <a:extLst>
                <a:ext uri="{FF2B5EF4-FFF2-40B4-BE49-F238E27FC236}">
                  <a16:creationId xmlns:a16="http://schemas.microsoft.com/office/drawing/2014/main" id="{0BFD206B-E227-48EC-BC73-4B6759CBFBE0}"/>
                </a:ext>
              </a:extLst>
            </p:cNvPr>
            <p:cNvGrpSpPr>
              <a:grpSpLocks noChangeAspect="1"/>
            </p:cNvGrpSpPr>
            <p:nvPr/>
          </p:nvGrpSpPr>
          <p:grpSpPr bwMode="auto">
            <a:xfrm>
              <a:off x="3209426" y="1999233"/>
              <a:ext cx="5587197" cy="3676432"/>
              <a:chOff x="1050" y="734"/>
              <a:chExt cx="5584" cy="3352"/>
            </a:xfrm>
            <a:solidFill>
              <a:srgbClr val="0072C6"/>
            </a:solidFill>
            <a:effectLst>
              <a:outerShdw blurRad="63500" sx="102000" sy="102000" algn="ctr" rotWithShape="0">
                <a:prstClr val="black">
                  <a:alpha val="40000"/>
                </a:prstClr>
              </a:outerShdw>
            </a:effectLst>
          </p:grpSpPr>
          <p:sp>
            <p:nvSpPr>
              <p:cNvPr id="46" name="Freeform 294">
                <a:extLst>
                  <a:ext uri="{FF2B5EF4-FFF2-40B4-BE49-F238E27FC236}">
                    <a16:creationId xmlns:a16="http://schemas.microsoft.com/office/drawing/2014/main" id="{14E22EF2-8051-4D1B-BAC2-E7A1621E636D}"/>
                  </a:ext>
                </a:extLst>
              </p:cNvPr>
              <p:cNvSpPr>
                <a:spLocks noEditPoints="1"/>
              </p:cNvSpPr>
              <p:nvPr/>
            </p:nvSpPr>
            <p:spPr bwMode="auto">
              <a:xfrm>
                <a:off x="1050" y="734"/>
                <a:ext cx="5580" cy="3352"/>
              </a:xfrm>
              <a:custGeom>
                <a:avLst/>
                <a:gdLst>
                  <a:gd name="T0" fmla="*/ 650 w 1300"/>
                  <a:gd name="T1" fmla="*/ 0 h 780"/>
                  <a:gd name="T2" fmla="*/ 0 w 1300"/>
                  <a:gd name="T3" fmla="*/ 390 h 780"/>
                  <a:gd name="T4" fmla="*/ 650 w 1300"/>
                  <a:gd name="T5" fmla="*/ 780 h 780"/>
                  <a:gd name="T6" fmla="*/ 1300 w 1300"/>
                  <a:gd name="T7" fmla="*/ 390 h 780"/>
                  <a:gd name="T8" fmla="*/ 650 w 1300"/>
                  <a:gd name="T9" fmla="*/ 0 h 780"/>
                  <a:gd name="T10" fmla="*/ 650 w 1300"/>
                  <a:gd name="T11" fmla="*/ 761 h 780"/>
                  <a:gd name="T12" fmla="*/ 14 w 1300"/>
                  <a:gd name="T13" fmla="*/ 390 h 780"/>
                  <a:gd name="T14" fmla="*/ 650 w 1300"/>
                  <a:gd name="T15" fmla="*/ 20 h 780"/>
                  <a:gd name="T16" fmla="*/ 1285 w 1300"/>
                  <a:gd name="T17" fmla="*/ 390 h 780"/>
                  <a:gd name="T18" fmla="*/ 650 w 1300"/>
                  <a:gd name="T19" fmla="*/ 761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0" h="780">
                    <a:moveTo>
                      <a:pt x="650" y="0"/>
                    </a:moveTo>
                    <a:cubicBezTo>
                      <a:pt x="291" y="0"/>
                      <a:pt x="0" y="175"/>
                      <a:pt x="0" y="390"/>
                    </a:cubicBezTo>
                    <a:cubicBezTo>
                      <a:pt x="0" y="606"/>
                      <a:pt x="291" y="780"/>
                      <a:pt x="650" y="780"/>
                    </a:cubicBezTo>
                    <a:cubicBezTo>
                      <a:pt x="1009" y="780"/>
                      <a:pt x="1300" y="606"/>
                      <a:pt x="1300" y="390"/>
                    </a:cubicBezTo>
                    <a:cubicBezTo>
                      <a:pt x="1300" y="175"/>
                      <a:pt x="1009" y="0"/>
                      <a:pt x="650" y="0"/>
                    </a:cubicBezTo>
                    <a:close/>
                    <a:moveTo>
                      <a:pt x="650" y="761"/>
                    </a:moveTo>
                    <a:cubicBezTo>
                      <a:pt x="299" y="761"/>
                      <a:pt x="14" y="595"/>
                      <a:pt x="14" y="390"/>
                    </a:cubicBezTo>
                    <a:cubicBezTo>
                      <a:pt x="14" y="186"/>
                      <a:pt x="299" y="20"/>
                      <a:pt x="650" y="20"/>
                    </a:cubicBezTo>
                    <a:cubicBezTo>
                      <a:pt x="1001" y="20"/>
                      <a:pt x="1285" y="186"/>
                      <a:pt x="1285" y="390"/>
                    </a:cubicBezTo>
                    <a:cubicBezTo>
                      <a:pt x="1285" y="595"/>
                      <a:pt x="1001" y="761"/>
                      <a:pt x="650" y="7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9">
                  <a:defRPr/>
                </a:pPr>
                <a:endParaRPr lang="en-US" sz="1765">
                  <a:solidFill>
                    <a:srgbClr val="000000"/>
                  </a:solidFill>
                  <a:latin typeface="Segoe UI"/>
                </a:endParaRPr>
              </a:p>
            </p:txBody>
          </p:sp>
          <p:sp>
            <p:nvSpPr>
              <p:cNvPr id="47" name="Freeform 295">
                <a:extLst>
                  <a:ext uri="{FF2B5EF4-FFF2-40B4-BE49-F238E27FC236}">
                    <a16:creationId xmlns:a16="http://schemas.microsoft.com/office/drawing/2014/main" id="{FBF0F187-CBF9-4258-90C7-CF886066FE65}"/>
                  </a:ext>
                </a:extLst>
              </p:cNvPr>
              <p:cNvSpPr>
                <a:spLocks noEditPoints="1"/>
              </p:cNvSpPr>
              <p:nvPr/>
            </p:nvSpPr>
            <p:spPr bwMode="auto">
              <a:xfrm>
                <a:off x="1050" y="1614"/>
                <a:ext cx="1854" cy="1633"/>
              </a:xfrm>
              <a:custGeom>
                <a:avLst/>
                <a:gdLst>
                  <a:gd name="T0" fmla="*/ 216 w 432"/>
                  <a:gd name="T1" fmla="*/ 0 h 432"/>
                  <a:gd name="T2" fmla="*/ 0 w 432"/>
                  <a:gd name="T3" fmla="*/ 216 h 432"/>
                  <a:gd name="T4" fmla="*/ 216 w 432"/>
                  <a:gd name="T5" fmla="*/ 432 h 432"/>
                  <a:gd name="T6" fmla="*/ 432 w 432"/>
                  <a:gd name="T7" fmla="*/ 216 h 432"/>
                  <a:gd name="T8" fmla="*/ 216 w 432"/>
                  <a:gd name="T9" fmla="*/ 0 h 432"/>
                  <a:gd name="T10" fmla="*/ 216 w 432"/>
                  <a:gd name="T11" fmla="*/ 415 h 432"/>
                  <a:gd name="T12" fmla="*/ 17 w 432"/>
                  <a:gd name="T13" fmla="*/ 216 h 432"/>
                  <a:gd name="T14" fmla="*/ 216 w 432"/>
                  <a:gd name="T15" fmla="*/ 18 h 432"/>
                  <a:gd name="T16" fmla="*/ 414 w 432"/>
                  <a:gd name="T17" fmla="*/ 216 h 432"/>
                  <a:gd name="T18" fmla="*/ 216 w 432"/>
                  <a:gd name="T19" fmla="*/ 415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2" h="432">
                    <a:moveTo>
                      <a:pt x="216" y="0"/>
                    </a:moveTo>
                    <a:cubicBezTo>
                      <a:pt x="97" y="0"/>
                      <a:pt x="0" y="97"/>
                      <a:pt x="0" y="216"/>
                    </a:cubicBezTo>
                    <a:cubicBezTo>
                      <a:pt x="0" y="335"/>
                      <a:pt x="97" y="432"/>
                      <a:pt x="216" y="432"/>
                    </a:cubicBezTo>
                    <a:cubicBezTo>
                      <a:pt x="335" y="432"/>
                      <a:pt x="432" y="335"/>
                      <a:pt x="432" y="216"/>
                    </a:cubicBezTo>
                    <a:cubicBezTo>
                      <a:pt x="432" y="97"/>
                      <a:pt x="335" y="0"/>
                      <a:pt x="216" y="0"/>
                    </a:cubicBezTo>
                    <a:close/>
                    <a:moveTo>
                      <a:pt x="216" y="415"/>
                    </a:moveTo>
                    <a:cubicBezTo>
                      <a:pt x="106" y="415"/>
                      <a:pt x="17" y="326"/>
                      <a:pt x="17" y="216"/>
                    </a:cubicBezTo>
                    <a:cubicBezTo>
                      <a:pt x="17" y="106"/>
                      <a:pt x="106" y="18"/>
                      <a:pt x="216" y="18"/>
                    </a:cubicBezTo>
                    <a:cubicBezTo>
                      <a:pt x="326" y="18"/>
                      <a:pt x="414" y="106"/>
                      <a:pt x="414" y="216"/>
                    </a:cubicBezTo>
                    <a:cubicBezTo>
                      <a:pt x="414" y="326"/>
                      <a:pt x="326" y="415"/>
                      <a:pt x="216" y="4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9">
                  <a:defRPr/>
                </a:pPr>
                <a:endParaRPr lang="en-US" sz="1765">
                  <a:solidFill>
                    <a:srgbClr val="000000"/>
                  </a:solidFill>
                  <a:latin typeface="Segoe UI"/>
                </a:endParaRPr>
              </a:p>
            </p:txBody>
          </p:sp>
          <p:sp>
            <p:nvSpPr>
              <p:cNvPr id="48" name="Freeform 296">
                <a:extLst>
                  <a:ext uri="{FF2B5EF4-FFF2-40B4-BE49-F238E27FC236}">
                    <a16:creationId xmlns:a16="http://schemas.microsoft.com/office/drawing/2014/main" id="{075B5610-762C-4534-A7FD-BDF866293A27}"/>
                  </a:ext>
                </a:extLst>
              </p:cNvPr>
              <p:cNvSpPr>
                <a:spLocks noEditPoints="1"/>
              </p:cNvSpPr>
              <p:nvPr/>
            </p:nvSpPr>
            <p:spPr bwMode="auto">
              <a:xfrm>
                <a:off x="4857" y="1622"/>
                <a:ext cx="1777" cy="1604"/>
              </a:xfrm>
              <a:custGeom>
                <a:avLst/>
                <a:gdLst>
                  <a:gd name="T0" fmla="*/ 216 w 432"/>
                  <a:gd name="T1" fmla="*/ 0 h 432"/>
                  <a:gd name="T2" fmla="*/ 0 w 432"/>
                  <a:gd name="T3" fmla="*/ 216 h 432"/>
                  <a:gd name="T4" fmla="*/ 216 w 432"/>
                  <a:gd name="T5" fmla="*/ 432 h 432"/>
                  <a:gd name="T6" fmla="*/ 432 w 432"/>
                  <a:gd name="T7" fmla="*/ 216 h 432"/>
                  <a:gd name="T8" fmla="*/ 216 w 432"/>
                  <a:gd name="T9" fmla="*/ 0 h 432"/>
                  <a:gd name="T10" fmla="*/ 216 w 432"/>
                  <a:gd name="T11" fmla="*/ 415 h 432"/>
                  <a:gd name="T12" fmla="*/ 17 w 432"/>
                  <a:gd name="T13" fmla="*/ 216 h 432"/>
                  <a:gd name="T14" fmla="*/ 216 w 432"/>
                  <a:gd name="T15" fmla="*/ 18 h 432"/>
                  <a:gd name="T16" fmla="*/ 414 w 432"/>
                  <a:gd name="T17" fmla="*/ 216 h 432"/>
                  <a:gd name="T18" fmla="*/ 216 w 432"/>
                  <a:gd name="T19" fmla="*/ 415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2" h="432">
                    <a:moveTo>
                      <a:pt x="216" y="0"/>
                    </a:moveTo>
                    <a:cubicBezTo>
                      <a:pt x="97" y="0"/>
                      <a:pt x="0" y="97"/>
                      <a:pt x="0" y="216"/>
                    </a:cubicBezTo>
                    <a:cubicBezTo>
                      <a:pt x="0" y="335"/>
                      <a:pt x="97" y="432"/>
                      <a:pt x="216" y="432"/>
                    </a:cubicBezTo>
                    <a:cubicBezTo>
                      <a:pt x="335" y="432"/>
                      <a:pt x="432" y="335"/>
                      <a:pt x="432" y="216"/>
                    </a:cubicBezTo>
                    <a:cubicBezTo>
                      <a:pt x="432" y="97"/>
                      <a:pt x="335" y="0"/>
                      <a:pt x="216" y="0"/>
                    </a:cubicBezTo>
                    <a:close/>
                    <a:moveTo>
                      <a:pt x="216" y="415"/>
                    </a:moveTo>
                    <a:cubicBezTo>
                      <a:pt x="106" y="415"/>
                      <a:pt x="17" y="326"/>
                      <a:pt x="17" y="216"/>
                    </a:cubicBezTo>
                    <a:cubicBezTo>
                      <a:pt x="17" y="106"/>
                      <a:pt x="106" y="18"/>
                      <a:pt x="216" y="18"/>
                    </a:cubicBezTo>
                    <a:cubicBezTo>
                      <a:pt x="326" y="18"/>
                      <a:pt x="414" y="106"/>
                      <a:pt x="414" y="216"/>
                    </a:cubicBezTo>
                    <a:cubicBezTo>
                      <a:pt x="414" y="326"/>
                      <a:pt x="326" y="415"/>
                      <a:pt x="216" y="4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9">
                  <a:defRPr/>
                </a:pPr>
                <a:endParaRPr lang="en-US" sz="1765">
                  <a:solidFill>
                    <a:srgbClr val="000000"/>
                  </a:solidFill>
                  <a:latin typeface="Segoe UI"/>
                </a:endParaRPr>
              </a:p>
            </p:txBody>
          </p:sp>
        </p:grpSp>
        <p:grpSp>
          <p:nvGrpSpPr>
            <p:cNvPr id="7" name="Group 6">
              <a:extLst>
                <a:ext uri="{FF2B5EF4-FFF2-40B4-BE49-F238E27FC236}">
                  <a16:creationId xmlns:a16="http://schemas.microsoft.com/office/drawing/2014/main" id="{ED8D97A5-6A3A-4617-BA5A-F8FD4191353E}"/>
                </a:ext>
              </a:extLst>
            </p:cNvPr>
            <p:cNvGrpSpPr/>
            <p:nvPr/>
          </p:nvGrpSpPr>
          <p:grpSpPr>
            <a:xfrm rot="10800000">
              <a:off x="3066564" y="3899949"/>
              <a:ext cx="380886" cy="198444"/>
              <a:chOff x="1473341" y="3774232"/>
              <a:chExt cx="480262" cy="292168"/>
            </a:xfrm>
          </p:grpSpPr>
          <p:sp>
            <p:nvSpPr>
              <p:cNvPr id="44" name="Isosceles Triangle 43">
                <a:extLst>
                  <a:ext uri="{FF2B5EF4-FFF2-40B4-BE49-F238E27FC236}">
                    <a16:creationId xmlns:a16="http://schemas.microsoft.com/office/drawing/2014/main" id="{0617F7F2-6218-4302-A5C3-A9E590CD77DD}"/>
                  </a:ext>
                </a:extLst>
              </p:cNvPr>
              <p:cNvSpPr/>
              <p:nvPr/>
            </p:nvSpPr>
            <p:spPr bwMode="auto">
              <a:xfrm>
                <a:off x="1473341" y="3774232"/>
                <a:ext cx="480262" cy="291068"/>
              </a:xfrm>
              <a:prstGeom prst="triangle">
                <a:avLst/>
              </a:prstGeom>
              <a:solidFill>
                <a:srgbClr val="FFFFFF"/>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Isosceles Triangle 44">
                <a:extLst>
                  <a:ext uri="{FF2B5EF4-FFF2-40B4-BE49-F238E27FC236}">
                    <a16:creationId xmlns:a16="http://schemas.microsoft.com/office/drawing/2014/main" id="{13D85B0D-CE66-4A57-B9E3-698A231B5521}"/>
                  </a:ext>
                </a:extLst>
              </p:cNvPr>
              <p:cNvSpPr/>
              <p:nvPr/>
            </p:nvSpPr>
            <p:spPr bwMode="auto">
              <a:xfrm>
                <a:off x="1512304" y="3822560"/>
                <a:ext cx="402336" cy="243840"/>
              </a:xfrm>
              <a:prstGeom prst="triangle">
                <a:avLst/>
              </a:prstGeom>
              <a:solidFill>
                <a:schemeClr val="accent1"/>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EAC5C100-A198-40D3-A811-E1B1237A9186}"/>
                </a:ext>
              </a:extLst>
            </p:cNvPr>
            <p:cNvGrpSpPr/>
            <p:nvPr/>
          </p:nvGrpSpPr>
          <p:grpSpPr>
            <a:xfrm>
              <a:off x="8563267" y="3615748"/>
              <a:ext cx="372217" cy="191883"/>
              <a:chOff x="1473341" y="3774232"/>
              <a:chExt cx="480262" cy="292168"/>
            </a:xfrm>
          </p:grpSpPr>
          <p:sp>
            <p:nvSpPr>
              <p:cNvPr id="42" name="Isosceles Triangle 41">
                <a:extLst>
                  <a:ext uri="{FF2B5EF4-FFF2-40B4-BE49-F238E27FC236}">
                    <a16:creationId xmlns:a16="http://schemas.microsoft.com/office/drawing/2014/main" id="{92DF943E-CCA2-40B6-BCB5-F8F9F799CE8B}"/>
                  </a:ext>
                </a:extLst>
              </p:cNvPr>
              <p:cNvSpPr/>
              <p:nvPr/>
            </p:nvSpPr>
            <p:spPr bwMode="auto">
              <a:xfrm>
                <a:off x="1473341" y="3774232"/>
                <a:ext cx="480262" cy="291068"/>
              </a:xfrm>
              <a:prstGeom prst="triangle">
                <a:avLst/>
              </a:prstGeom>
              <a:solidFill>
                <a:srgbClr val="FFFFFF"/>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Isosceles Triangle 42">
                <a:extLst>
                  <a:ext uri="{FF2B5EF4-FFF2-40B4-BE49-F238E27FC236}">
                    <a16:creationId xmlns:a16="http://schemas.microsoft.com/office/drawing/2014/main" id="{82DB64C9-32E9-4798-BC4E-7166381D98BA}"/>
                  </a:ext>
                </a:extLst>
              </p:cNvPr>
              <p:cNvSpPr/>
              <p:nvPr/>
            </p:nvSpPr>
            <p:spPr bwMode="auto">
              <a:xfrm>
                <a:off x="1512304" y="3822560"/>
                <a:ext cx="402336" cy="243840"/>
              </a:xfrm>
              <a:prstGeom prst="triangle">
                <a:avLst/>
              </a:prstGeom>
              <a:solidFill>
                <a:schemeClr val="accent1"/>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CC112F70-989F-4DF2-93E4-AEFEAAACF889}"/>
                </a:ext>
              </a:extLst>
            </p:cNvPr>
            <p:cNvGrpSpPr/>
            <p:nvPr/>
          </p:nvGrpSpPr>
          <p:grpSpPr>
            <a:xfrm rot="16200000">
              <a:off x="7728728" y="2915804"/>
              <a:ext cx="351453" cy="209987"/>
              <a:chOff x="1473341" y="3774232"/>
              <a:chExt cx="480262" cy="292168"/>
            </a:xfrm>
          </p:grpSpPr>
          <p:sp>
            <p:nvSpPr>
              <p:cNvPr id="40" name="Isosceles Triangle 39">
                <a:extLst>
                  <a:ext uri="{FF2B5EF4-FFF2-40B4-BE49-F238E27FC236}">
                    <a16:creationId xmlns:a16="http://schemas.microsoft.com/office/drawing/2014/main" id="{0411B4B0-ADD5-414A-81D1-9BCE8163BDE8}"/>
                  </a:ext>
                </a:extLst>
              </p:cNvPr>
              <p:cNvSpPr/>
              <p:nvPr/>
            </p:nvSpPr>
            <p:spPr bwMode="auto">
              <a:xfrm>
                <a:off x="1473341" y="3774232"/>
                <a:ext cx="480262" cy="291068"/>
              </a:xfrm>
              <a:prstGeom prst="triangle">
                <a:avLst/>
              </a:prstGeom>
              <a:solidFill>
                <a:srgbClr val="FFFFFF"/>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Isosceles Triangle 40">
                <a:extLst>
                  <a:ext uri="{FF2B5EF4-FFF2-40B4-BE49-F238E27FC236}">
                    <a16:creationId xmlns:a16="http://schemas.microsoft.com/office/drawing/2014/main" id="{63F22BC5-8CC0-40B5-8935-FABB804A6FEA}"/>
                  </a:ext>
                </a:extLst>
              </p:cNvPr>
              <p:cNvSpPr/>
              <p:nvPr/>
            </p:nvSpPr>
            <p:spPr bwMode="auto">
              <a:xfrm>
                <a:off x="1512304" y="3822560"/>
                <a:ext cx="402336" cy="243840"/>
              </a:xfrm>
              <a:prstGeom prst="triangle">
                <a:avLst/>
              </a:prstGeom>
              <a:solidFill>
                <a:schemeClr val="accent1"/>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F2803E82-CBC5-4CE1-B1FC-F754CA5C2799}"/>
                </a:ext>
              </a:extLst>
            </p:cNvPr>
            <p:cNvGrpSpPr/>
            <p:nvPr/>
          </p:nvGrpSpPr>
          <p:grpSpPr>
            <a:xfrm rot="5400000">
              <a:off x="4159611" y="4592881"/>
              <a:ext cx="320114" cy="197965"/>
              <a:chOff x="1473341" y="3774232"/>
              <a:chExt cx="480262" cy="292168"/>
            </a:xfrm>
          </p:grpSpPr>
          <p:sp>
            <p:nvSpPr>
              <p:cNvPr id="38" name="Isosceles Triangle 37">
                <a:extLst>
                  <a:ext uri="{FF2B5EF4-FFF2-40B4-BE49-F238E27FC236}">
                    <a16:creationId xmlns:a16="http://schemas.microsoft.com/office/drawing/2014/main" id="{494704CC-C6F8-43DE-A737-9182C7F8E951}"/>
                  </a:ext>
                </a:extLst>
              </p:cNvPr>
              <p:cNvSpPr/>
              <p:nvPr/>
            </p:nvSpPr>
            <p:spPr bwMode="auto">
              <a:xfrm>
                <a:off x="1473341" y="3774232"/>
                <a:ext cx="480262" cy="291068"/>
              </a:xfrm>
              <a:prstGeom prst="triangle">
                <a:avLst/>
              </a:prstGeom>
              <a:solidFill>
                <a:srgbClr val="FFFFFF"/>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Isosceles Triangle 38">
                <a:extLst>
                  <a:ext uri="{FF2B5EF4-FFF2-40B4-BE49-F238E27FC236}">
                    <a16:creationId xmlns:a16="http://schemas.microsoft.com/office/drawing/2014/main" id="{F5153CA3-3692-43F7-B2BB-957E3D931750}"/>
                  </a:ext>
                </a:extLst>
              </p:cNvPr>
              <p:cNvSpPr/>
              <p:nvPr/>
            </p:nvSpPr>
            <p:spPr bwMode="auto">
              <a:xfrm>
                <a:off x="1512304" y="3822560"/>
                <a:ext cx="402336" cy="243840"/>
              </a:xfrm>
              <a:prstGeom prst="triangle">
                <a:avLst/>
              </a:prstGeom>
              <a:solidFill>
                <a:schemeClr val="accent1"/>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1" name="TextBox 61">
              <a:extLst>
                <a:ext uri="{FF2B5EF4-FFF2-40B4-BE49-F238E27FC236}">
                  <a16:creationId xmlns:a16="http://schemas.microsoft.com/office/drawing/2014/main" id="{AFA1BD86-1DE8-4D2E-9963-9B466AD832DC}"/>
                </a:ext>
              </a:extLst>
            </p:cNvPr>
            <p:cNvSpPr txBox="1"/>
            <p:nvPr/>
          </p:nvSpPr>
          <p:spPr>
            <a:xfrm>
              <a:off x="7353908" y="3669906"/>
              <a:ext cx="1212453" cy="30786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9">
                <a:defRPr/>
              </a:pPr>
              <a:r>
                <a:rPr lang="en-US" sz="2000" kern="0">
                  <a:gradFill>
                    <a:gsLst>
                      <a:gs pos="20354">
                        <a:srgbClr val="000000"/>
                      </a:gs>
                      <a:gs pos="54000">
                        <a:srgbClr val="000000"/>
                      </a:gs>
                    </a:gsLst>
                    <a:lin ang="5400000" scaled="0"/>
                  </a:gradFill>
                  <a:latin typeface="Segoe UI Light"/>
                </a:rPr>
                <a:t>Production</a:t>
              </a:r>
            </a:p>
          </p:txBody>
        </p:sp>
        <p:grpSp>
          <p:nvGrpSpPr>
            <p:cNvPr id="12" name="Group 11">
              <a:extLst>
                <a:ext uri="{FF2B5EF4-FFF2-40B4-BE49-F238E27FC236}">
                  <a16:creationId xmlns:a16="http://schemas.microsoft.com/office/drawing/2014/main" id="{FB47772C-0C4F-4A3C-990E-0BB7983CEA1A}"/>
                </a:ext>
              </a:extLst>
            </p:cNvPr>
            <p:cNvGrpSpPr/>
            <p:nvPr/>
          </p:nvGrpSpPr>
          <p:grpSpPr>
            <a:xfrm>
              <a:off x="5058949" y="3599494"/>
              <a:ext cx="1912939" cy="458266"/>
              <a:chOff x="4662521" y="3822551"/>
              <a:chExt cx="2867552" cy="480263"/>
            </a:xfrm>
            <a:effectLst>
              <a:outerShdw blurRad="63500" sx="102000" sy="102000" algn="ctr" rotWithShape="0">
                <a:prstClr val="black">
                  <a:alpha val="40000"/>
                </a:prstClr>
              </a:outerShdw>
            </a:effectLst>
          </p:grpSpPr>
          <p:sp>
            <p:nvSpPr>
              <p:cNvPr id="31" name="Rectangle 30">
                <a:extLst>
                  <a:ext uri="{FF2B5EF4-FFF2-40B4-BE49-F238E27FC236}">
                    <a16:creationId xmlns:a16="http://schemas.microsoft.com/office/drawing/2014/main" id="{73578E89-833B-4D01-A519-1D396421FEBF}"/>
                  </a:ext>
                </a:extLst>
              </p:cNvPr>
              <p:cNvSpPr/>
              <p:nvPr/>
            </p:nvSpPr>
            <p:spPr bwMode="auto">
              <a:xfrm>
                <a:off x="4953297" y="4002478"/>
                <a:ext cx="2286000" cy="120407"/>
              </a:xfrm>
              <a:prstGeom prst="rect">
                <a:avLst/>
              </a:prstGeom>
              <a:solidFill>
                <a:schemeClr val="accent1"/>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32100DF2-F152-485A-9808-B51E1F511D8A}"/>
                  </a:ext>
                </a:extLst>
              </p:cNvPr>
              <p:cNvGrpSpPr/>
              <p:nvPr/>
            </p:nvGrpSpPr>
            <p:grpSpPr>
              <a:xfrm rot="16200000">
                <a:off x="4568474" y="3916599"/>
                <a:ext cx="480262" cy="292168"/>
                <a:chOff x="1473341" y="3774232"/>
                <a:chExt cx="480262" cy="292168"/>
              </a:xfrm>
            </p:grpSpPr>
            <p:sp>
              <p:nvSpPr>
                <p:cNvPr id="36" name="Isosceles Triangle 35">
                  <a:extLst>
                    <a:ext uri="{FF2B5EF4-FFF2-40B4-BE49-F238E27FC236}">
                      <a16:creationId xmlns:a16="http://schemas.microsoft.com/office/drawing/2014/main" id="{C703E42F-388D-4BDE-8AE5-AC3AB0FB47C1}"/>
                    </a:ext>
                  </a:extLst>
                </p:cNvPr>
                <p:cNvSpPr/>
                <p:nvPr/>
              </p:nvSpPr>
              <p:spPr bwMode="auto">
                <a:xfrm>
                  <a:off x="1473341" y="3774232"/>
                  <a:ext cx="480262" cy="291068"/>
                </a:xfrm>
                <a:prstGeom prst="triangle">
                  <a:avLst/>
                </a:prstGeom>
                <a:solidFill>
                  <a:srgbClr val="FFFFFF"/>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Isosceles Triangle 36">
                  <a:extLst>
                    <a:ext uri="{FF2B5EF4-FFF2-40B4-BE49-F238E27FC236}">
                      <a16:creationId xmlns:a16="http://schemas.microsoft.com/office/drawing/2014/main" id="{EBEA2689-EABA-40D9-99AD-E6E90180902A}"/>
                    </a:ext>
                  </a:extLst>
                </p:cNvPr>
                <p:cNvSpPr/>
                <p:nvPr/>
              </p:nvSpPr>
              <p:spPr bwMode="auto">
                <a:xfrm>
                  <a:off x="1512304" y="3822560"/>
                  <a:ext cx="402336" cy="243840"/>
                </a:xfrm>
                <a:prstGeom prst="triangle">
                  <a:avLst/>
                </a:prstGeom>
                <a:solidFill>
                  <a:schemeClr val="accent1"/>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80CB0A28-4DA2-4968-868B-B0410B297937}"/>
                  </a:ext>
                </a:extLst>
              </p:cNvPr>
              <p:cNvGrpSpPr/>
              <p:nvPr/>
            </p:nvGrpSpPr>
            <p:grpSpPr>
              <a:xfrm rot="5400000">
                <a:off x="7143858" y="3916598"/>
                <a:ext cx="480262" cy="292168"/>
                <a:chOff x="1473341" y="3774232"/>
                <a:chExt cx="480262" cy="292168"/>
              </a:xfrm>
            </p:grpSpPr>
            <p:sp>
              <p:nvSpPr>
                <p:cNvPr id="34" name="Isosceles Triangle 33">
                  <a:extLst>
                    <a:ext uri="{FF2B5EF4-FFF2-40B4-BE49-F238E27FC236}">
                      <a16:creationId xmlns:a16="http://schemas.microsoft.com/office/drawing/2014/main" id="{C5AE6739-BB88-41AD-B8D7-36A585D4EDB9}"/>
                    </a:ext>
                  </a:extLst>
                </p:cNvPr>
                <p:cNvSpPr/>
                <p:nvPr/>
              </p:nvSpPr>
              <p:spPr bwMode="auto">
                <a:xfrm>
                  <a:off x="1473341" y="3774232"/>
                  <a:ext cx="480262" cy="291068"/>
                </a:xfrm>
                <a:prstGeom prst="triangle">
                  <a:avLst/>
                </a:prstGeom>
                <a:solidFill>
                  <a:srgbClr val="FFFFFF"/>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Isosceles Triangle 34">
                  <a:extLst>
                    <a:ext uri="{FF2B5EF4-FFF2-40B4-BE49-F238E27FC236}">
                      <a16:creationId xmlns:a16="http://schemas.microsoft.com/office/drawing/2014/main" id="{D3A4D9D0-5885-40BE-9101-24C3407AAAAB}"/>
                    </a:ext>
                  </a:extLst>
                </p:cNvPr>
                <p:cNvSpPr/>
                <p:nvPr/>
              </p:nvSpPr>
              <p:spPr bwMode="auto">
                <a:xfrm>
                  <a:off x="1512304" y="3822560"/>
                  <a:ext cx="402336" cy="243840"/>
                </a:xfrm>
                <a:prstGeom prst="triangle">
                  <a:avLst/>
                </a:prstGeom>
                <a:solidFill>
                  <a:schemeClr val="accent1"/>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3" name="TextBox 93">
              <a:extLst>
                <a:ext uri="{FF2B5EF4-FFF2-40B4-BE49-F238E27FC236}">
                  <a16:creationId xmlns:a16="http://schemas.microsoft.com/office/drawing/2014/main" id="{6EBA6DEB-06BC-4C2E-9A32-C06A5CE849C0}"/>
                </a:ext>
              </a:extLst>
            </p:cNvPr>
            <p:cNvSpPr txBox="1"/>
            <p:nvPr/>
          </p:nvSpPr>
          <p:spPr>
            <a:xfrm>
              <a:off x="5294280" y="3929582"/>
              <a:ext cx="1447717" cy="307864"/>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39">
                <a:defRPr/>
              </a:pPr>
              <a:r>
                <a:rPr lang="en-US" sz="2000" kern="0">
                  <a:gradFill>
                    <a:gsLst>
                      <a:gs pos="20354">
                        <a:srgbClr val="000000"/>
                      </a:gs>
                      <a:gs pos="54000">
                        <a:srgbClr val="000000"/>
                      </a:gs>
                    </a:gsLst>
                    <a:lin ang="5400000" scaled="0"/>
                  </a:gradFill>
                  <a:latin typeface="Segoe UI Light"/>
                </a:rPr>
                <a:t>Collaboration</a:t>
              </a:r>
            </a:p>
          </p:txBody>
        </p:sp>
        <p:grpSp>
          <p:nvGrpSpPr>
            <p:cNvPr id="14" name="Group 13">
              <a:extLst>
                <a:ext uri="{FF2B5EF4-FFF2-40B4-BE49-F238E27FC236}">
                  <a16:creationId xmlns:a16="http://schemas.microsoft.com/office/drawing/2014/main" id="{53451899-712F-4944-B71E-D5878EB4D4F9}"/>
                </a:ext>
              </a:extLst>
            </p:cNvPr>
            <p:cNvGrpSpPr>
              <a:grpSpLocks noChangeAspect="1"/>
            </p:cNvGrpSpPr>
            <p:nvPr/>
          </p:nvGrpSpPr>
          <p:grpSpPr bwMode="auto">
            <a:xfrm>
              <a:off x="5591969" y="3107135"/>
              <a:ext cx="715432" cy="613687"/>
              <a:chOff x="7349" y="-2816"/>
              <a:chExt cx="661" cy="567"/>
            </a:xfrm>
            <a:solidFill>
              <a:srgbClr val="FFFFFF">
                <a:lumMod val="50000"/>
              </a:srgbClr>
            </a:solidFill>
          </p:grpSpPr>
          <p:sp>
            <p:nvSpPr>
              <p:cNvPr id="25" name="Freeform 273">
                <a:extLst>
                  <a:ext uri="{FF2B5EF4-FFF2-40B4-BE49-F238E27FC236}">
                    <a16:creationId xmlns:a16="http://schemas.microsoft.com/office/drawing/2014/main" id="{81E12349-D678-4E84-9C38-9DB759D8B8B1}"/>
                  </a:ext>
                </a:extLst>
              </p:cNvPr>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1">
                  <a:defRPr/>
                </a:pPr>
                <a:endParaRPr lang="en-US" sz="1667">
                  <a:solidFill>
                    <a:srgbClr val="FFFFFF"/>
                  </a:solidFill>
                  <a:latin typeface="Segoe UI"/>
                </a:endParaRPr>
              </a:p>
            </p:txBody>
          </p:sp>
          <p:sp>
            <p:nvSpPr>
              <p:cNvPr id="26" name="Oval 25">
                <a:extLst>
                  <a:ext uri="{FF2B5EF4-FFF2-40B4-BE49-F238E27FC236}">
                    <a16:creationId xmlns:a16="http://schemas.microsoft.com/office/drawing/2014/main" id="{E59F8859-7ADA-4065-9D17-0E794F39DF64}"/>
                  </a:ext>
                </a:extLst>
              </p:cNvPr>
              <p:cNvSpPr>
                <a:spLocks noChangeArrowheads="1"/>
              </p:cNvSpPr>
              <p:nvPr/>
            </p:nvSpPr>
            <p:spPr bwMode="auto">
              <a:xfrm>
                <a:off x="7616" y="-2816"/>
                <a:ext cx="127" cy="128"/>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1">
                  <a:defRPr/>
                </a:pPr>
                <a:endParaRPr lang="en-US" sz="1667">
                  <a:solidFill>
                    <a:srgbClr val="FFFFFF"/>
                  </a:solidFill>
                  <a:latin typeface="Segoe UI"/>
                </a:endParaRPr>
              </a:p>
            </p:txBody>
          </p:sp>
          <p:sp>
            <p:nvSpPr>
              <p:cNvPr id="27" name="Freeform 275">
                <a:extLst>
                  <a:ext uri="{FF2B5EF4-FFF2-40B4-BE49-F238E27FC236}">
                    <a16:creationId xmlns:a16="http://schemas.microsoft.com/office/drawing/2014/main" id="{742A54AA-42C5-4C4A-BA79-E9A38CCE0013}"/>
                  </a:ext>
                </a:extLst>
              </p:cNvPr>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1">
                  <a:defRPr/>
                </a:pPr>
                <a:endParaRPr lang="en-US" sz="1667">
                  <a:solidFill>
                    <a:srgbClr val="FFFFFF"/>
                  </a:solidFill>
                  <a:latin typeface="Segoe UI"/>
                </a:endParaRPr>
              </a:p>
            </p:txBody>
          </p:sp>
          <p:sp>
            <p:nvSpPr>
              <p:cNvPr id="28" name="Oval 27">
                <a:extLst>
                  <a:ext uri="{FF2B5EF4-FFF2-40B4-BE49-F238E27FC236}">
                    <a16:creationId xmlns:a16="http://schemas.microsoft.com/office/drawing/2014/main" id="{50DA2348-7E95-4EF5-BC3D-4DE6311A9F02}"/>
                  </a:ext>
                </a:extLst>
              </p:cNvPr>
              <p:cNvSpPr>
                <a:spLocks noChangeArrowheads="1"/>
              </p:cNvSpPr>
              <p:nvPr/>
            </p:nvSpPr>
            <p:spPr bwMode="auto">
              <a:xfrm>
                <a:off x="7866" y="-2780"/>
                <a:ext cx="109" cy="108"/>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1">
                  <a:defRPr/>
                </a:pPr>
                <a:endParaRPr lang="en-US" sz="1667">
                  <a:solidFill>
                    <a:srgbClr val="FFFFFF"/>
                  </a:solidFill>
                  <a:latin typeface="Segoe UI"/>
                </a:endParaRPr>
              </a:p>
            </p:txBody>
          </p:sp>
          <p:sp>
            <p:nvSpPr>
              <p:cNvPr id="29" name="Freeform 277">
                <a:extLst>
                  <a:ext uri="{FF2B5EF4-FFF2-40B4-BE49-F238E27FC236}">
                    <a16:creationId xmlns:a16="http://schemas.microsoft.com/office/drawing/2014/main" id="{1BE0E3C5-7C56-43CA-BFB6-C92506FCB4D8}"/>
                  </a:ext>
                </a:extLst>
              </p:cNvPr>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1">
                  <a:defRPr/>
                </a:pPr>
                <a:endParaRPr lang="en-US" sz="1667">
                  <a:solidFill>
                    <a:srgbClr val="FFFFFF"/>
                  </a:solidFill>
                  <a:latin typeface="Segoe UI"/>
                </a:endParaRPr>
              </a:p>
            </p:txBody>
          </p:sp>
          <p:sp>
            <p:nvSpPr>
              <p:cNvPr id="30" name="Oval 29">
                <a:extLst>
                  <a:ext uri="{FF2B5EF4-FFF2-40B4-BE49-F238E27FC236}">
                    <a16:creationId xmlns:a16="http://schemas.microsoft.com/office/drawing/2014/main" id="{BA5E3F3D-43F1-4E47-9929-5687FC3BC2E6}"/>
                  </a:ext>
                </a:extLst>
              </p:cNvPr>
              <p:cNvSpPr>
                <a:spLocks noChangeArrowheads="1"/>
              </p:cNvSpPr>
              <p:nvPr/>
            </p:nvSpPr>
            <p:spPr bwMode="auto">
              <a:xfrm>
                <a:off x="7384" y="-2780"/>
                <a:ext cx="109" cy="108"/>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1">
                  <a:defRPr/>
                </a:pPr>
                <a:endParaRPr lang="en-US" sz="1667">
                  <a:solidFill>
                    <a:srgbClr val="FFFFFF"/>
                  </a:solidFill>
                  <a:latin typeface="Segoe UI"/>
                </a:endParaRPr>
              </a:p>
            </p:txBody>
          </p:sp>
        </p:grpSp>
        <p:sp>
          <p:nvSpPr>
            <p:cNvPr id="15" name="Rectangle 17">
              <a:extLst>
                <a:ext uri="{FF2B5EF4-FFF2-40B4-BE49-F238E27FC236}">
                  <a16:creationId xmlns:a16="http://schemas.microsoft.com/office/drawing/2014/main" id="{FEC9E590-4504-4260-A4B0-5B585B915730}"/>
                </a:ext>
              </a:extLst>
            </p:cNvPr>
            <p:cNvSpPr/>
            <p:nvPr/>
          </p:nvSpPr>
          <p:spPr bwMode="auto">
            <a:xfrm>
              <a:off x="4443602" y="1704040"/>
              <a:ext cx="1571816" cy="942263"/>
            </a:xfrm>
            <a:custGeom>
              <a:avLst/>
              <a:gdLst>
                <a:gd name="connsiteX0" fmla="*/ 0 w 2565727"/>
                <a:gd name="connsiteY0" fmla="*/ 0 h 967389"/>
                <a:gd name="connsiteX1" fmla="*/ 2565727 w 2565727"/>
                <a:gd name="connsiteY1" fmla="*/ 0 h 967389"/>
                <a:gd name="connsiteX2" fmla="*/ 2565727 w 2565727"/>
                <a:gd name="connsiteY2" fmla="*/ 967389 h 967389"/>
                <a:gd name="connsiteX3" fmla="*/ 0 w 2565727"/>
                <a:gd name="connsiteY3" fmla="*/ 967389 h 967389"/>
                <a:gd name="connsiteX4" fmla="*/ 0 w 2565727"/>
                <a:gd name="connsiteY4" fmla="*/ 0 h 967389"/>
                <a:gd name="connsiteX0" fmla="*/ 0 w 2565727"/>
                <a:gd name="connsiteY0" fmla="*/ 0 h 1016157"/>
                <a:gd name="connsiteX1" fmla="*/ 2565727 w 2565727"/>
                <a:gd name="connsiteY1" fmla="*/ 0 h 1016157"/>
                <a:gd name="connsiteX2" fmla="*/ 2565727 w 2565727"/>
                <a:gd name="connsiteY2" fmla="*/ 967389 h 1016157"/>
                <a:gd name="connsiteX3" fmla="*/ 182880 w 2565727"/>
                <a:gd name="connsiteY3" fmla="*/ 1016157 h 1016157"/>
                <a:gd name="connsiteX4" fmla="*/ 0 w 2565727"/>
                <a:gd name="connsiteY4" fmla="*/ 0 h 1016157"/>
                <a:gd name="connsiteX0" fmla="*/ 0 w 3089983"/>
                <a:gd name="connsiteY0" fmla="*/ 463296 h 1016157"/>
                <a:gd name="connsiteX1" fmla="*/ 3089983 w 3089983"/>
                <a:gd name="connsiteY1" fmla="*/ 0 h 1016157"/>
                <a:gd name="connsiteX2" fmla="*/ 3089983 w 3089983"/>
                <a:gd name="connsiteY2" fmla="*/ 967389 h 1016157"/>
                <a:gd name="connsiteX3" fmla="*/ 707136 w 3089983"/>
                <a:gd name="connsiteY3" fmla="*/ 1016157 h 1016157"/>
                <a:gd name="connsiteX4" fmla="*/ 0 w 3089983"/>
                <a:gd name="connsiteY4" fmla="*/ 463296 h 1016157"/>
                <a:gd name="connsiteX0" fmla="*/ 0 w 3089983"/>
                <a:gd name="connsiteY0" fmla="*/ 463296 h 1077117"/>
                <a:gd name="connsiteX1" fmla="*/ 3089983 w 3089983"/>
                <a:gd name="connsiteY1" fmla="*/ 0 h 1077117"/>
                <a:gd name="connsiteX2" fmla="*/ 3089983 w 3089983"/>
                <a:gd name="connsiteY2" fmla="*/ 967389 h 1077117"/>
                <a:gd name="connsiteX3" fmla="*/ 609600 w 3089983"/>
                <a:gd name="connsiteY3" fmla="*/ 1077117 h 1077117"/>
                <a:gd name="connsiteX4" fmla="*/ 0 w 3089983"/>
                <a:gd name="connsiteY4" fmla="*/ 463296 h 1077117"/>
                <a:gd name="connsiteX0" fmla="*/ 0 w 2980255"/>
                <a:gd name="connsiteY0" fmla="*/ 463296 h 1077117"/>
                <a:gd name="connsiteX1" fmla="*/ 2980255 w 2980255"/>
                <a:gd name="connsiteY1" fmla="*/ 0 h 1077117"/>
                <a:gd name="connsiteX2" fmla="*/ 2980255 w 2980255"/>
                <a:gd name="connsiteY2" fmla="*/ 967389 h 1077117"/>
                <a:gd name="connsiteX3" fmla="*/ 499872 w 2980255"/>
                <a:gd name="connsiteY3" fmla="*/ 1077117 h 1077117"/>
                <a:gd name="connsiteX4" fmla="*/ 0 w 2980255"/>
                <a:gd name="connsiteY4" fmla="*/ 463296 h 1077117"/>
                <a:gd name="connsiteX0" fmla="*/ 280416 w 2480383"/>
                <a:gd name="connsiteY0" fmla="*/ 365760 h 1077117"/>
                <a:gd name="connsiteX1" fmla="*/ 2480383 w 2480383"/>
                <a:gd name="connsiteY1" fmla="*/ 0 h 1077117"/>
                <a:gd name="connsiteX2" fmla="*/ 2480383 w 2480383"/>
                <a:gd name="connsiteY2" fmla="*/ 967389 h 1077117"/>
                <a:gd name="connsiteX3" fmla="*/ 0 w 2480383"/>
                <a:gd name="connsiteY3" fmla="*/ 1077117 h 1077117"/>
                <a:gd name="connsiteX4" fmla="*/ 280416 w 2480383"/>
                <a:gd name="connsiteY4" fmla="*/ 365760 h 1077117"/>
                <a:gd name="connsiteX0" fmla="*/ 0 w 2199967"/>
                <a:gd name="connsiteY0" fmla="*/ 365760 h 1101501"/>
                <a:gd name="connsiteX1" fmla="*/ 2199967 w 2199967"/>
                <a:gd name="connsiteY1" fmla="*/ 0 h 1101501"/>
                <a:gd name="connsiteX2" fmla="*/ 2199967 w 2199967"/>
                <a:gd name="connsiteY2" fmla="*/ 967389 h 1101501"/>
                <a:gd name="connsiteX3" fmla="*/ 97536 w 2199967"/>
                <a:gd name="connsiteY3" fmla="*/ 1101501 h 1101501"/>
                <a:gd name="connsiteX4" fmla="*/ 0 w 2199967"/>
                <a:gd name="connsiteY4" fmla="*/ 365760 h 1101501"/>
                <a:gd name="connsiteX0" fmla="*/ 0 w 2199967"/>
                <a:gd name="connsiteY0" fmla="*/ 365760 h 1089309"/>
                <a:gd name="connsiteX1" fmla="*/ 2199967 w 2199967"/>
                <a:gd name="connsiteY1" fmla="*/ 0 h 1089309"/>
                <a:gd name="connsiteX2" fmla="*/ 2199967 w 2199967"/>
                <a:gd name="connsiteY2" fmla="*/ 967389 h 1089309"/>
                <a:gd name="connsiteX3" fmla="*/ 158496 w 2199967"/>
                <a:gd name="connsiteY3" fmla="*/ 1089309 h 1089309"/>
                <a:gd name="connsiteX4" fmla="*/ 0 w 2199967"/>
                <a:gd name="connsiteY4" fmla="*/ 365760 h 1089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9967" h="1089309">
                  <a:moveTo>
                    <a:pt x="0" y="365760"/>
                  </a:moveTo>
                  <a:lnTo>
                    <a:pt x="2199967" y="0"/>
                  </a:lnTo>
                  <a:lnTo>
                    <a:pt x="2199967" y="967389"/>
                  </a:lnTo>
                  <a:lnTo>
                    <a:pt x="158496" y="1089309"/>
                  </a:lnTo>
                  <a:lnTo>
                    <a:pt x="0" y="365760"/>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7">
              <a:extLst>
                <a:ext uri="{FF2B5EF4-FFF2-40B4-BE49-F238E27FC236}">
                  <a16:creationId xmlns:a16="http://schemas.microsoft.com/office/drawing/2014/main" id="{2F56927B-A609-448D-AB6B-A43F514A34A7}"/>
                </a:ext>
              </a:extLst>
            </p:cNvPr>
            <p:cNvSpPr/>
            <p:nvPr/>
          </p:nvSpPr>
          <p:spPr bwMode="auto">
            <a:xfrm>
              <a:off x="4515071" y="1680941"/>
              <a:ext cx="1418203" cy="942263"/>
            </a:xfrm>
            <a:custGeom>
              <a:avLst/>
              <a:gdLst>
                <a:gd name="connsiteX0" fmla="*/ 0 w 2565727"/>
                <a:gd name="connsiteY0" fmla="*/ 0 h 967389"/>
                <a:gd name="connsiteX1" fmla="*/ 2565727 w 2565727"/>
                <a:gd name="connsiteY1" fmla="*/ 0 h 967389"/>
                <a:gd name="connsiteX2" fmla="*/ 2565727 w 2565727"/>
                <a:gd name="connsiteY2" fmla="*/ 967389 h 967389"/>
                <a:gd name="connsiteX3" fmla="*/ 0 w 2565727"/>
                <a:gd name="connsiteY3" fmla="*/ 967389 h 967389"/>
                <a:gd name="connsiteX4" fmla="*/ 0 w 2565727"/>
                <a:gd name="connsiteY4" fmla="*/ 0 h 967389"/>
                <a:gd name="connsiteX0" fmla="*/ 0 w 2565727"/>
                <a:gd name="connsiteY0" fmla="*/ 0 h 1016157"/>
                <a:gd name="connsiteX1" fmla="*/ 2565727 w 2565727"/>
                <a:gd name="connsiteY1" fmla="*/ 0 h 1016157"/>
                <a:gd name="connsiteX2" fmla="*/ 2565727 w 2565727"/>
                <a:gd name="connsiteY2" fmla="*/ 967389 h 1016157"/>
                <a:gd name="connsiteX3" fmla="*/ 182880 w 2565727"/>
                <a:gd name="connsiteY3" fmla="*/ 1016157 h 1016157"/>
                <a:gd name="connsiteX4" fmla="*/ 0 w 2565727"/>
                <a:gd name="connsiteY4" fmla="*/ 0 h 1016157"/>
                <a:gd name="connsiteX0" fmla="*/ 0 w 3089983"/>
                <a:gd name="connsiteY0" fmla="*/ 463296 h 1016157"/>
                <a:gd name="connsiteX1" fmla="*/ 3089983 w 3089983"/>
                <a:gd name="connsiteY1" fmla="*/ 0 h 1016157"/>
                <a:gd name="connsiteX2" fmla="*/ 3089983 w 3089983"/>
                <a:gd name="connsiteY2" fmla="*/ 967389 h 1016157"/>
                <a:gd name="connsiteX3" fmla="*/ 707136 w 3089983"/>
                <a:gd name="connsiteY3" fmla="*/ 1016157 h 1016157"/>
                <a:gd name="connsiteX4" fmla="*/ 0 w 3089983"/>
                <a:gd name="connsiteY4" fmla="*/ 463296 h 1016157"/>
                <a:gd name="connsiteX0" fmla="*/ 0 w 3089983"/>
                <a:gd name="connsiteY0" fmla="*/ 463296 h 1077117"/>
                <a:gd name="connsiteX1" fmla="*/ 3089983 w 3089983"/>
                <a:gd name="connsiteY1" fmla="*/ 0 h 1077117"/>
                <a:gd name="connsiteX2" fmla="*/ 3089983 w 3089983"/>
                <a:gd name="connsiteY2" fmla="*/ 967389 h 1077117"/>
                <a:gd name="connsiteX3" fmla="*/ 609600 w 3089983"/>
                <a:gd name="connsiteY3" fmla="*/ 1077117 h 1077117"/>
                <a:gd name="connsiteX4" fmla="*/ 0 w 3089983"/>
                <a:gd name="connsiteY4" fmla="*/ 463296 h 1077117"/>
                <a:gd name="connsiteX0" fmla="*/ 0 w 2980255"/>
                <a:gd name="connsiteY0" fmla="*/ 463296 h 1077117"/>
                <a:gd name="connsiteX1" fmla="*/ 2980255 w 2980255"/>
                <a:gd name="connsiteY1" fmla="*/ 0 h 1077117"/>
                <a:gd name="connsiteX2" fmla="*/ 2980255 w 2980255"/>
                <a:gd name="connsiteY2" fmla="*/ 967389 h 1077117"/>
                <a:gd name="connsiteX3" fmla="*/ 499872 w 2980255"/>
                <a:gd name="connsiteY3" fmla="*/ 1077117 h 1077117"/>
                <a:gd name="connsiteX4" fmla="*/ 0 w 2980255"/>
                <a:gd name="connsiteY4" fmla="*/ 463296 h 1077117"/>
                <a:gd name="connsiteX0" fmla="*/ 280416 w 2480383"/>
                <a:gd name="connsiteY0" fmla="*/ 365760 h 1077117"/>
                <a:gd name="connsiteX1" fmla="*/ 2480383 w 2480383"/>
                <a:gd name="connsiteY1" fmla="*/ 0 h 1077117"/>
                <a:gd name="connsiteX2" fmla="*/ 2480383 w 2480383"/>
                <a:gd name="connsiteY2" fmla="*/ 967389 h 1077117"/>
                <a:gd name="connsiteX3" fmla="*/ 0 w 2480383"/>
                <a:gd name="connsiteY3" fmla="*/ 1077117 h 1077117"/>
                <a:gd name="connsiteX4" fmla="*/ 280416 w 2480383"/>
                <a:gd name="connsiteY4" fmla="*/ 365760 h 1077117"/>
                <a:gd name="connsiteX0" fmla="*/ 0 w 2199967"/>
                <a:gd name="connsiteY0" fmla="*/ 365760 h 1101501"/>
                <a:gd name="connsiteX1" fmla="*/ 2199967 w 2199967"/>
                <a:gd name="connsiteY1" fmla="*/ 0 h 1101501"/>
                <a:gd name="connsiteX2" fmla="*/ 2199967 w 2199967"/>
                <a:gd name="connsiteY2" fmla="*/ 967389 h 1101501"/>
                <a:gd name="connsiteX3" fmla="*/ 97536 w 2199967"/>
                <a:gd name="connsiteY3" fmla="*/ 1101501 h 1101501"/>
                <a:gd name="connsiteX4" fmla="*/ 0 w 2199967"/>
                <a:gd name="connsiteY4" fmla="*/ 365760 h 1101501"/>
                <a:gd name="connsiteX0" fmla="*/ 0 w 2199967"/>
                <a:gd name="connsiteY0" fmla="*/ 365760 h 1089309"/>
                <a:gd name="connsiteX1" fmla="*/ 2199967 w 2199967"/>
                <a:gd name="connsiteY1" fmla="*/ 0 h 1089309"/>
                <a:gd name="connsiteX2" fmla="*/ 2199967 w 2199967"/>
                <a:gd name="connsiteY2" fmla="*/ 967389 h 1089309"/>
                <a:gd name="connsiteX3" fmla="*/ 158496 w 2199967"/>
                <a:gd name="connsiteY3" fmla="*/ 1089309 h 1089309"/>
                <a:gd name="connsiteX4" fmla="*/ 0 w 2199967"/>
                <a:gd name="connsiteY4" fmla="*/ 365760 h 1089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9967" h="1089309">
                  <a:moveTo>
                    <a:pt x="0" y="365760"/>
                  </a:moveTo>
                  <a:lnTo>
                    <a:pt x="2199967" y="0"/>
                  </a:lnTo>
                  <a:lnTo>
                    <a:pt x="2199967" y="967389"/>
                  </a:lnTo>
                  <a:lnTo>
                    <a:pt x="158496" y="1089309"/>
                  </a:lnTo>
                  <a:lnTo>
                    <a:pt x="0" y="365760"/>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Freeform 12">
              <a:extLst>
                <a:ext uri="{FF2B5EF4-FFF2-40B4-BE49-F238E27FC236}">
                  <a16:creationId xmlns:a16="http://schemas.microsoft.com/office/drawing/2014/main" id="{00C56C92-4A55-4872-8F28-872E2021D7FE}"/>
                </a:ext>
              </a:extLst>
            </p:cNvPr>
            <p:cNvSpPr>
              <a:spLocks/>
            </p:cNvSpPr>
            <p:nvPr/>
          </p:nvSpPr>
          <p:spPr bwMode="auto">
            <a:xfrm>
              <a:off x="4575962" y="1585159"/>
              <a:ext cx="1357312" cy="380796"/>
            </a:xfrm>
            <a:custGeom>
              <a:avLst/>
              <a:gdLst>
                <a:gd name="T0" fmla="*/ 601 w 601"/>
                <a:gd name="T1" fmla="*/ 173 h 173"/>
                <a:gd name="T2" fmla="*/ 601 w 601"/>
                <a:gd name="T3" fmla="*/ 55 h 173"/>
                <a:gd name="T4" fmla="*/ 546 w 601"/>
                <a:gd name="T5" fmla="*/ 0 h 173"/>
                <a:gd name="T6" fmla="*/ 55 w 601"/>
                <a:gd name="T7" fmla="*/ 0 h 173"/>
                <a:gd name="T8" fmla="*/ 0 w 601"/>
                <a:gd name="T9" fmla="*/ 55 h 173"/>
                <a:gd name="T10" fmla="*/ 0 w 601"/>
                <a:gd name="T11" fmla="*/ 173 h 173"/>
                <a:gd name="T12" fmla="*/ 601 w 601"/>
                <a:gd name="T13" fmla="*/ 173 h 173"/>
              </a:gdLst>
              <a:ahLst/>
              <a:cxnLst>
                <a:cxn ang="0">
                  <a:pos x="T0" y="T1"/>
                </a:cxn>
                <a:cxn ang="0">
                  <a:pos x="T2" y="T3"/>
                </a:cxn>
                <a:cxn ang="0">
                  <a:pos x="T4" y="T5"/>
                </a:cxn>
                <a:cxn ang="0">
                  <a:pos x="T6" y="T7"/>
                </a:cxn>
                <a:cxn ang="0">
                  <a:pos x="T8" y="T9"/>
                </a:cxn>
                <a:cxn ang="0">
                  <a:pos x="T10" y="T11"/>
                </a:cxn>
                <a:cxn ang="0">
                  <a:pos x="T12" y="T13"/>
                </a:cxn>
              </a:cxnLst>
              <a:rect l="0" t="0" r="r" b="b"/>
              <a:pathLst>
                <a:path w="601" h="173">
                  <a:moveTo>
                    <a:pt x="601" y="173"/>
                  </a:moveTo>
                  <a:cubicBezTo>
                    <a:pt x="601" y="55"/>
                    <a:pt x="601" y="55"/>
                    <a:pt x="601" y="55"/>
                  </a:cubicBezTo>
                  <a:cubicBezTo>
                    <a:pt x="601" y="25"/>
                    <a:pt x="576" y="0"/>
                    <a:pt x="546" y="0"/>
                  </a:cubicBezTo>
                  <a:cubicBezTo>
                    <a:pt x="55" y="0"/>
                    <a:pt x="55" y="0"/>
                    <a:pt x="55" y="0"/>
                  </a:cubicBezTo>
                  <a:cubicBezTo>
                    <a:pt x="25" y="0"/>
                    <a:pt x="0" y="25"/>
                    <a:pt x="0" y="55"/>
                  </a:cubicBezTo>
                  <a:cubicBezTo>
                    <a:pt x="0" y="173"/>
                    <a:pt x="0" y="173"/>
                    <a:pt x="0" y="173"/>
                  </a:cubicBezTo>
                  <a:lnTo>
                    <a:pt x="601" y="173"/>
                  </a:lnTo>
                  <a:close/>
                </a:path>
              </a:pathLst>
            </a:custGeom>
            <a:solidFill>
              <a:schemeClr val="accent1"/>
            </a:solidFill>
            <a:ln>
              <a:noFill/>
            </a:ln>
            <a:effectLst>
              <a:outerShdw blurRad="63500" sx="102000" sy="102000" algn="ctr" rotWithShape="0">
                <a:prstClr val="black">
                  <a:alpha val="40000"/>
                </a:prstClr>
              </a:outerShdw>
            </a:effectLst>
          </p:spPr>
          <p:txBody>
            <a:bodyPr vert="horz" wrap="square" lIns="87867" tIns="0" rIns="87867" bIns="0" numCol="1" anchor="ctr" anchorCtr="0" compatLnSpc="1">
              <a:prstTxWarp prst="textNoShape">
                <a:avLst/>
              </a:prstTxWarp>
            </a:bodyPr>
            <a:lstStyle/>
            <a:p>
              <a:pPr algn="ctr" defTabSz="914139">
                <a:lnSpc>
                  <a:spcPct val="90000"/>
                </a:lnSpc>
                <a:defRPr/>
              </a:pPr>
              <a:r>
                <a:rPr lang="en-US" sz="1600" kern="0">
                  <a:solidFill>
                    <a:srgbClr val="FFFFFF"/>
                  </a:solidFill>
                  <a:latin typeface="Segoe UI"/>
                </a:rPr>
                <a:t>BACKLOG</a:t>
              </a:r>
            </a:p>
          </p:txBody>
        </p:sp>
        <p:sp>
          <p:nvSpPr>
            <p:cNvPr id="18" name="Rectangle 13">
              <a:extLst>
                <a:ext uri="{FF2B5EF4-FFF2-40B4-BE49-F238E27FC236}">
                  <a16:creationId xmlns:a16="http://schemas.microsoft.com/office/drawing/2014/main" id="{BB6A87DB-2226-4D2F-A09F-78092E2C9682}"/>
                </a:ext>
              </a:extLst>
            </p:cNvPr>
            <p:cNvSpPr>
              <a:spLocks noChangeArrowheads="1"/>
            </p:cNvSpPr>
            <p:nvPr/>
          </p:nvSpPr>
          <p:spPr bwMode="auto">
            <a:xfrm>
              <a:off x="4575962" y="2010401"/>
              <a:ext cx="1357312" cy="169376"/>
            </a:xfrm>
            <a:prstGeom prst="rect">
              <a:avLst/>
            </a:prstGeom>
            <a:solidFill>
              <a:schemeClr val="accent1"/>
            </a:solidFill>
            <a:ln>
              <a:noFill/>
            </a:ln>
            <a:effectLst>
              <a:outerShdw blurRad="63500" sx="102000" sy="102000" algn="ctr" rotWithShape="0">
                <a:prstClr val="black">
                  <a:alpha val="40000"/>
                </a:prstClr>
              </a:outerShdw>
            </a:effectLst>
          </p:spPr>
          <p:txBody>
            <a:bodyPr vert="horz" wrap="square" lIns="87867" tIns="0" rIns="87867" bIns="0" numCol="1" anchor="ctr" anchorCtr="0" compatLnSpc="1">
              <a:prstTxWarp prst="textNoShape">
                <a:avLst/>
              </a:prstTxWarp>
            </a:bodyPr>
            <a:lstStyle/>
            <a:p>
              <a:pPr algn="ctr" defTabSz="914139">
                <a:defRPr/>
              </a:pPr>
              <a:endParaRPr lang="en-US" sz="1567" kern="0">
                <a:solidFill>
                  <a:srgbClr val="000000"/>
                </a:solidFill>
                <a:latin typeface="Segoe UI"/>
              </a:endParaRPr>
            </a:p>
          </p:txBody>
        </p:sp>
        <p:sp>
          <p:nvSpPr>
            <p:cNvPr id="19" name="Rectangle 14">
              <a:extLst>
                <a:ext uri="{FF2B5EF4-FFF2-40B4-BE49-F238E27FC236}">
                  <a16:creationId xmlns:a16="http://schemas.microsoft.com/office/drawing/2014/main" id="{A1F4AFC7-B2C1-4B20-9E37-8BDFCC9C2108}"/>
                </a:ext>
              </a:extLst>
            </p:cNvPr>
            <p:cNvSpPr>
              <a:spLocks noChangeArrowheads="1"/>
            </p:cNvSpPr>
            <p:nvPr/>
          </p:nvSpPr>
          <p:spPr bwMode="auto">
            <a:xfrm>
              <a:off x="4575962" y="2224224"/>
              <a:ext cx="1357312" cy="169376"/>
            </a:xfrm>
            <a:prstGeom prst="rect">
              <a:avLst/>
            </a:prstGeom>
            <a:solidFill>
              <a:schemeClr val="accent1"/>
            </a:solidFill>
            <a:ln>
              <a:noFill/>
            </a:ln>
            <a:effectLst>
              <a:outerShdw blurRad="63500" sx="102000" sy="102000" algn="ctr" rotWithShape="0">
                <a:prstClr val="black">
                  <a:alpha val="40000"/>
                </a:prstClr>
              </a:outerShdw>
            </a:effectLst>
          </p:spPr>
          <p:txBody>
            <a:bodyPr vert="horz" wrap="square" lIns="87867" tIns="0" rIns="87867" bIns="0" numCol="1" anchor="ctr" anchorCtr="0" compatLnSpc="1">
              <a:prstTxWarp prst="textNoShape">
                <a:avLst/>
              </a:prstTxWarp>
            </a:bodyPr>
            <a:lstStyle/>
            <a:p>
              <a:pPr algn="ctr" defTabSz="914139">
                <a:defRPr/>
              </a:pPr>
              <a:endParaRPr lang="en-US" sz="1567" kern="0">
                <a:solidFill>
                  <a:srgbClr val="000000"/>
                </a:solidFill>
                <a:latin typeface="Segoe UI"/>
              </a:endParaRPr>
            </a:p>
          </p:txBody>
        </p:sp>
        <p:sp>
          <p:nvSpPr>
            <p:cNvPr id="20" name="Freeform 15">
              <a:extLst>
                <a:ext uri="{FF2B5EF4-FFF2-40B4-BE49-F238E27FC236}">
                  <a16:creationId xmlns:a16="http://schemas.microsoft.com/office/drawing/2014/main" id="{5DC760F1-E15B-4743-9A94-46F08E0E7B6E}"/>
                </a:ext>
              </a:extLst>
            </p:cNvPr>
            <p:cNvSpPr>
              <a:spLocks/>
            </p:cNvSpPr>
            <p:nvPr/>
          </p:nvSpPr>
          <p:spPr bwMode="auto">
            <a:xfrm>
              <a:off x="4575962" y="2438044"/>
              <a:ext cx="1357312" cy="168174"/>
            </a:xfrm>
            <a:custGeom>
              <a:avLst/>
              <a:gdLst>
                <a:gd name="T0" fmla="*/ 0 w 601"/>
                <a:gd name="T1" fmla="*/ 0 h 76"/>
                <a:gd name="T2" fmla="*/ 0 w 601"/>
                <a:gd name="T3" fmla="*/ 21 h 76"/>
                <a:gd name="T4" fmla="*/ 55 w 601"/>
                <a:gd name="T5" fmla="*/ 76 h 76"/>
                <a:gd name="T6" fmla="*/ 546 w 601"/>
                <a:gd name="T7" fmla="*/ 76 h 76"/>
                <a:gd name="T8" fmla="*/ 601 w 601"/>
                <a:gd name="T9" fmla="*/ 21 h 76"/>
                <a:gd name="T10" fmla="*/ 601 w 601"/>
                <a:gd name="T11" fmla="*/ 0 h 76"/>
                <a:gd name="T12" fmla="*/ 0 w 601"/>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601" h="76">
                  <a:moveTo>
                    <a:pt x="0" y="0"/>
                  </a:moveTo>
                  <a:cubicBezTo>
                    <a:pt x="0" y="21"/>
                    <a:pt x="0" y="21"/>
                    <a:pt x="0" y="21"/>
                  </a:cubicBezTo>
                  <a:cubicBezTo>
                    <a:pt x="0" y="52"/>
                    <a:pt x="25" y="76"/>
                    <a:pt x="55" y="76"/>
                  </a:cubicBezTo>
                  <a:cubicBezTo>
                    <a:pt x="546" y="76"/>
                    <a:pt x="546" y="76"/>
                    <a:pt x="546" y="76"/>
                  </a:cubicBezTo>
                  <a:cubicBezTo>
                    <a:pt x="576" y="76"/>
                    <a:pt x="601" y="52"/>
                    <a:pt x="601" y="21"/>
                  </a:cubicBezTo>
                  <a:cubicBezTo>
                    <a:pt x="601" y="0"/>
                    <a:pt x="601" y="0"/>
                    <a:pt x="601" y="0"/>
                  </a:cubicBezTo>
                  <a:lnTo>
                    <a:pt x="0" y="0"/>
                  </a:lnTo>
                  <a:close/>
                </a:path>
              </a:pathLst>
            </a:custGeom>
            <a:solidFill>
              <a:schemeClr val="accent1"/>
            </a:solidFill>
            <a:ln>
              <a:noFill/>
            </a:ln>
            <a:effectLst>
              <a:outerShdw blurRad="63500" sx="102000" sy="102000" algn="ctr" rotWithShape="0">
                <a:prstClr val="black">
                  <a:alpha val="40000"/>
                </a:prstClr>
              </a:outerShdw>
            </a:effectLst>
          </p:spPr>
          <p:txBody>
            <a:bodyPr vert="horz" wrap="square" lIns="87867" tIns="0" rIns="87867" bIns="0" numCol="1" anchor="ctr" anchorCtr="0" compatLnSpc="1">
              <a:prstTxWarp prst="textNoShape">
                <a:avLst/>
              </a:prstTxWarp>
            </a:bodyPr>
            <a:lstStyle/>
            <a:p>
              <a:pPr algn="ctr" defTabSz="914139">
                <a:defRPr/>
              </a:pPr>
              <a:endParaRPr lang="en-US" sz="1567" kern="0">
                <a:solidFill>
                  <a:srgbClr val="000000"/>
                </a:solidFill>
                <a:latin typeface="Segoe UI"/>
              </a:endParaRPr>
            </a:p>
          </p:txBody>
        </p:sp>
        <p:grpSp>
          <p:nvGrpSpPr>
            <p:cNvPr id="21" name="Group 20">
              <a:extLst>
                <a:ext uri="{FF2B5EF4-FFF2-40B4-BE49-F238E27FC236}">
                  <a16:creationId xmlns:a16="http://schemas.microsoft.com/office/drawing/2014/main" id="{B1573365-9052-4FA8-B738-5B5A0EBF5DAE}"/>
                </a:ext>
              </a:extLst>
            </p:cNvPr>
            <p:cNvGrpSpPr/>
            <p:nvPr/>
          </p:nvGrpSpPr>
          <p:grpSpPr>
            <a:xfrm rot="16200000">
              <a:off x="5907860" y="1913418"/>
              <a:ext cx="329291" cy="275519"/>
              <a:chOff x="1473341" y="3774232"/>
              <a:chExt cx="480262" cy="292168"/>
            </a:xfrm>
          </p:grpSpPr>
          <p:sp>
            <p:nvSpPr>
              <p:cNvPr id="23" name="Isosceles Triangle 22">
                <a:extLst>
                  <a:ext uri="{FF2B5EF4-FFF2-40B4-BE49-F238E27FC236}">
                    <a16:creationId xmlns:a16="http://schemas.microsoft.com/office/drawing/2014/main" id="{E4BFCA12-AE97-4137-BC39-8CBABEB87E4F}"/>
                  </a:ext>
                </a:extLst>
              </p:cNvPr>
              <p:cNvSpPr/>
              <p:nvPr/>
            </p:nvSpPr>
            <p:spPr bwMode="auto">
              <a:xfrm>
                <a:off x="1473341" y="3774232"/>
                <a:ext cx="480262" cy="291068"/>
              </a:xfrm>
              <a:prstGeom prst="triangle">
                <a:avLst/>
              </a:prstGeom>
              <a:solidFill>
                <a:srgbClr val="FFFFFF"/>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Isosceles Triangle 23">
                <a:extLst>
                  <a:ext uri="{FF2B5EF4-FFF2-40B4-BE49-F238E27FC236}">
                    <a16:creationId xmlns:a16="http://schemas.microsoft.com/office/drawing/2014/main" id="{A63CFA42-B1B7-46CB-A1C4-C5D2DE684F3E}"/>
                  </a:ext>
                </a:extLst>
              </p:cNvPr>
              <p:cNvSpPr/>
              <p:nvPr/>
            </p:nvSpPr>
            <p:spPr bwMode="auto">
              <a:xfrm>
                <a:off x="1512304" y="3822560"/>
                <a:ext cx="402336" cy="243840"/>
              </a:xfrm>
              <a:prstGeom prst="triangle">
                <a:avLst/>
              </a:prstGeom>
              <a:solidFill>
                <a:schemeClr val="accent1"/>
              </a:solidFill>
              <a:ln w="9525" cap="flat" cmpd="sng" algn="ctr">
                <a:noFill/>
                <a:prstDash val="solid"/>
                <a:headEnd type="none" w="med" len="med"/>
                <a:tailEnd type="none" w="med" len="med"/>
              </a:ln>
              <a:effectLst/>
            </p:spPr>
            <p:txBody>
              <a:bodyPr rot="0" spcFirstLastPara="0"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2" name="TextBox 21">
              <a:extLst>
                <a:ext uri="{FF2B5EF4-FFF2-40B4-BE49-F238E27FC236}">
                  <a16:creationId xmlns:a16="http://schemas.microsoft.com/office/drawing/2014/main" id="{6765A868-B0E6-4343-A8AB-6FD46ABE9C49}"/>
                </a:ext>
              </a:extLst>
            </p:cNvPr>
            <p:cNvSpPr txBox="1"/>
            <p:nvPr/>
          </p:nvSpPr>
          <p:spPr>
            <a:xfrm>
              <a:off x="4397982" y="1267312"/>
              <a:ext cx="1731488" cy="307864"/>
            </a:xfrm>
            <a:prstGeom prst="rect">
              <a:avLst/>
            </a:prstGeom>
            <a:noFill/>
          </p:spPr>
          <p:txBody>
            <a:bodyPr wrap="none" lIns="0" tIns="0" rIns="0" bIns="0" rtlCol="0" anchor="ctr">
              <a:spAutoFit/>
            </a:bodyPr>
            <a:lstStyle/>
            <a:p>
              <a:pPr algn="ctr" defTabSz="914139">
                <a:defRPr/>
              </a:pPr>
              <a:r>
                <a:rPr lang="en-US" sz="2000" kern="0">
                  <a:solidFill>
                    <a:srgbClr val="000000"/>
                  </a:solidFill>
                  <a:latin typeface="Segoe UI Light"/>
                  <a:cs typeface="Segoe UI Light"/>
                </a:rPr>
                <a:t>REQUIREMENTS</a:t>
              </a:r>
            </a:p>
          </p:txBody>
        </p:sp>
      </p:grpSp>
      <p:sp>
        <p:nvSpPr>
          <p:cNvPr id="50" name="Freeform 321">
            <a:extLst>
              <a:ext uri="{FF2B5EF4-FFF2-40B4-BE49-F238E27FC236}">
                <a16:creationId xmlns:a16="http://schemas.microsoft.com/office/drawing/2014/main" id="{214A3D86-52BD-4B73-93FA-9AC0A6827EC0}"/>
              </a:ext>
            </a:extLst>
          </p:cNvPr>
          <p:cNvSpPr>
            <a:spLocks noEditPoints="1"/>
          </p:cNvSpPr>
          <p:nvPr/>
        </p:nvSpPr>
        <p:spPr bwMode="auto">
          <a:xfrm>
            <a:off x="4993171" y="5487572"/>
            <a:ext cx="505420" cy="398341"/>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dk2"/>
          </a:solidFill>
          <a:ln>
            <a:noFill/>
          </a:ln>
        </p:spPr>
        <p:txBody>
          <a:bodyPr vert="horz" wrap="square" lIns="91423" tIns="45710" rIns="91423" bIns="457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9">
              <a:defRPr/>
            </a:pPr>
            <a:endParaRPr lang="en-US" sz="1765">
              <a:solidFill>
                <a:srgbClr val="000000"/>
              </a:solidFill>
              <a:latin typeface="Segoe UI"/>
            </a:endParaRPr>
          </a:p>
        </p:txBody>
      </p:sp>
      <p:sp>
        <p:nvSpPr>
          <p:cNvPr id="51" name="Freeform 322">
            <a:extLst>
              <a:ext uri="{FF2B5EF4-FFF2-40B4-BE49-F238E27FC236}">
                <a16:creationId xmlns:a16="http://schemas.microsoft.com/office/drawing/2014/main" id="{2F7BC1CF-2B5A-49F3-93CA-7A97B30681D1}"/>
              </a:ext>
            </a:extLst>
          </p:cNvPr>
          <p:cNvSpPr>
            <a:spLocks noEditPoints="1"/>
          </p:cNvSpPr>
          <p:nvPr/>
        </p:nvSpPr>
        <p:spPr bwMode="auto">
          <a:xfrm flipH="1">
            <a:off x="6520799" y="5425723"/>
            <a:ext cx="530860" cy="438046"/>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dk2"/>
          </a:solidFill>
          <a:ln>
            <a:noFill/>
          </a:ln>
        </p:spPr>
        <p:txBody>
          <a:bodyPr vert="horz" wrap="square" lIns="91423" tIns="45710" rIns="91423" bIns="457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9">
              <a:defRPr/>
            </a:pPr>
            <a:endParaRPr lang="en-US" sz="1765">
              <a:solidFill>
                <a:srgbClr val="000000"/>
              </a:solidFill>
              <a:latin typeface="Segoe UI"/>
            </a:endParaRPr>
          </a:p>
        </p:txBody>
      </p:sp>
      <p:sp>
        <p:nvSpPr>
          <p:cNvPr id="52" name="Freeform 323">
            <a:extLst>
              <a:ext uri="{FF2B5EF4-FFF2-40B4-BE49-F238E27FC236}">
                <a16:creationId xmlns:a16="http://schemas.microsoft.com/office/drawing/2014/main" id="{B81248AD-5FAB-4725-8F10-3592DDC28127}"/>
              </a:ext>
            </a:extLst>
          </p:cNvPr>
          <p:cNvSpPr>
            <a:spLocks noEditPoints="1"/>
          </p:cNvSpPr>
          <p:nvPr/>
        </p:nvSpPr>
        <p:spPr bwMode="auto">
          <a:xfrm>
            <a:off x="5558576" y="5394178"/>
            <a:ext cx="289015" cy="483407"/>
          </a:xfrm>
          <a:custGeom>
            <a:avLst/>
            <a:gdLst>
              <a:gd name="T0" fmla="*/ 2929 w 3010"/>
              <a:gd name="T1" fmla="*/ 0 h 5178"/>
              <a:gd name="T2" fmla="*/ 2257 w 3010"/>
              <a:gd name="T3" fmla="*/ 556 h 5178"/>
              <a:gd name="T4" fmla="*/ 0 w 3010"/>
              <a:gd name="T5" fmla="*/ 556 h 5178"/>
              <a:gd name="T6" fmla="*/ 858 w 3010"/>
              <a:gd name="T7" fmla="*/ 0 h 5178"/>
              <a:gd name="T8" fmla="*/ 2929 w 3010"/>
              <a:gd name="T9" fmla="*/ 0 h 5178"/>
              <a:gd name="T10" fmla="*/ 2929 w 3010"/>
              <a:gd name="T11" fmla="*/ 0 h 5178"/>
              <a:gd name="T12" fmla="*/ 2929 w 3010"/>
              <a:gd name="T13" fmla="*/ 0 h 5178"/>
              <a:gd name="T14" fmla="*/ 2345 w 3010"/>
              <a:gd name="T15" fmla="*/ 601 h 5178"/>
              <a:gd name="T16" fmla="*/ 2345 w 3010"/>
              <a:gd name="T17" fmla="*/ 5178 h 5178"/>
              <a:gd name="T18" fmla="*/ 3010 w 3010"/>
              <a:gd name="T19" fmla="*/ 4319 h 5178"/>
              <a:gd name="T20" fmla="*/ 3010 w 3010"/>
              <a:gd name="T21" fmla="*/ 61 h 5178"/>
              <a:gd name="T22" fmla="*/ 2345 w 3010"/>
              <a:gd name="T23" fmla="*/ 601 h 5178"/>
              <a:gd name="T24" fmla="*/ 2345 w 3010"/>
              <a:gd name="T25" fmla="*/ 601 h 5178"/>
              <a:gd name="T26" fmla="*/ 2345 w 3010"/>
              <a:gd name="T27" fmla="*/ 601 h 5178"/>
              <a:gd name="T28" fmla="*/ 0 w 3010"/>
              <a:gd name="T29" fmla="*/ 646 h 5178"/>
              <a:gd name="T30" fmla="*/ 2257 w 3010"/>
              <a:gd name="T31" fmla="*/ 646 h 5178"/>
              <a:gd name="T32" fmla="*/ 2257 w 3010"/>
              <a:gd name="T33" fmla="*/ 5178 h 5178"/>
              <a:gd name="T34" fmla="*/ 0 w 3010"/>
              <a:gd name="T35" fmla="*/ 5178 h 5178"/>
              <a:gd name="T36" fmla="*/ 0 w 3010"/>
              <a:gd name="T37" fmla="*/ 646 h 5178"/>
              <a:gd name="T38" fmla="*/ 0 w 3010"/>
              <a:gd name="T39" fmla="*/ 646 h 5178"/>
              <a:gd name="T40" fmla="*/ 0 w 3010"/>
              <a:gd name="T41" fmla="*/ 646 h 5178"/>
              <a:gd name="T42" fmla="*/ 168 w 3010"/>
              <a:gd name="T43" fmla="*/ 1060 h 5178"/>
              <a:gd name="T44" fmla="*/ 2089 w 3010"/>
              <a:gd name="T45" fmla="*/ 1060 h 5178"/>
              <a:gd name="T46" fmla="*/ 2089 w 3010"/>
              <a:gd name="T47" fmla="*/ 830 h 5178"/>
              <a:gd name="T48" fmla="*/ 168 w 3010"/>
              <a:gd name="T49" fmla="*/ 830 h 5178"/>
              <a:gd name="T50" fmla="*/ 168 w 3010"/>
              <a:gd name="T51" fmla="*/ 1060 h 5178"/>
              <a:gd name="T52" fmla="*/ 168 w 3010"/>
              <a:gd name="T53" fmla="*/ 1060 h 5178"/>
              <a:gd name="T54" fmla="*/ 168 w 3010"/>
              <a:gd name="T55" fmla="*/ 1060 h 5178"/>
              <a:gd name="T56" fmla="*/ 168 w 3010"/>
              <a:gd name="T57" fmla="*/ 1457 h 5178"/>
              <a:gd name="T58" fmla="*/ 2089 w 3010"/>
              <a:gd name="T59" fmla="*/ 1457 h 5178"/>
              <a:gd name="T60" fmla="*/ 2089 w 3010"/>
              <a:gd name="T61" fmla="*/ 1228 h 5178"/>
              <a:gd name="T62" fmla="*/ 168 w 3010"/>
              <a:gd name="T63" fmla="*/ 1228 h 5178"/>
              <a:gd name="T64" fmla="*/ 168 w 3010"/>
              <a:gd name="T65" fmla="*/ 1457 h 5178"/>
              <a:gd name="T66" fmla="*/ 168 w 3010"/>
              <a:gd name="T67" fmla="*/ 1457 h 5178"/>
              <a:gd name="T68" fmla="*/ 168 w 3010"/>
              <a:gd name="T69" fmla="*/ 1457 h 5178"/>
              <a:gd name="T70" fmla="*/ 168 w 3010"/>
              <a:gd name="T71" fmla="*/ 1854 h 5178"/>
              <a:gd name="T72" fmla="*/ 2089 w 3010"/>
              <a:gd name="T73" fmla="*/ 1854 h 5178"/>
              <a:gd name="T74" fmla="*/ 2089 w 3010"/>
              <a:gd name="T75" fmla="*/ 1625 h 5178"/>
              <a:gd name="T76" fmla="*/ 168 w 3010"/>
              <a:gd name="T77" fmla="*/ 1625 h 5178"/>
              <a:gd name="T78" fmla="*/ 168 w 3010"/>
              <a:gd name="T79" fmla="*/ 1854 h 5178"/>
              <a:gd name="T80" fmla="*/ 168 w 3010"/>
              <a:gd name="T81" fmla="*/ 1854 h 5178"/>
              <a:gd name="T82" fmla="*/ 168 w 3010"/>
              <a:gd name="T83" fmla="*/ 1854 h 5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10" h="5178">
                <a:moveTo>
                  <a:pt x="2929" y="0"/>
                </a:moveTo>
                <a:lnTo>
                  <a:pt x="2257" y="556"/>
                </a:lnTo>
                <a:lnTo>
                  <a:pt x="0" y="556"/>
                </a:lnTo>
                <a:lnTo>
                  <a:pt x="858" y="0"/>
                </a:lnTo>
                <a:lnTo>
                  <a:pt x="2929" y="0"/>
                </a:lnTo>
                <a:lnTo>
                  <a:pt x="2929" y="0"/>
                </a:lnTo>
                <a:lnTo>
                  <a:pt x="2929" y="0"/>
                </a:lnTo>
                <a:close/>
                <a:moveTo>
                  <a:pt x="2345" y="601"/>
                </a:moveTo>
                <a:lnTo>
                  <a:pt x="2345" y="5178"/>
                </a:lnTo>
                <a:lnTo>
                  <a:pt x="3010" y="4319"/>
                </a:lnTo>
                <a:lnTo>
                  <a:pt x="3010" y="61"/>
                </a:lnTo>
                <a:lnTo>
                  <a:pt x="2345" y="601"/>
                </a:lnTo>
                <a:lnTo>
                  <a:pt x="2345" y="601"/>
                </a:lnTo>
                <a:lnTo>
                  <a:pt x="2345" y="601"/>
                </a:lnTo>
                <a:close/>
                <a:moveTo>
                  <a:pt x="0" y="646"/>
                </a:moveTo>
                <a:lnTo>
                  <a:pt x="2257" y="646"/>
                </a:lnTo>
                <a:lnTo>
                  <a:pt x="2257" y="5178"/>
                </a:lnTo>
                <a:lnTo>
                  <a:pt x="0" y="5178"/>
                </a:lnTo>
                <a:lnTo>
                  <a:pt x="0" y="646"/>
                </a:lnTo>
                <a:lnTo>
                  <a:pt x="0" y="646"/>
                </a:lnTo>
                <a:lnTo>
                  <a:pt x="0" y="646"/>
                </a:lnTo>
                <a:close/>
                <a:moveTo>
                  <a:pt x="168" y="1060"/>
                </a:moveTo>
                <a:lnTo>
                  <a:pt x="2089" y="1060"/>
                </a:lnTo>
                <a:lnTo>
                  <a:pt x="2089" y="830"/>
                </a:lnTo>
                <a:lnTo>
                  <a:pt x="168" y="830"/>
                </a:lnTo>
                <a:lnTo>
                  <a:pt x="168" y="1060"/>
                </a:lnTo>
                <a:lnTo>
                  <a:pt x="168" y="1060"/>
                </a:lnTo>
                <a:lnTo>
                  <a:pt x="168" y="1060"/>
                </a:lnTo>
                <a:close/>
                <a:moveTo>
                  <a:pt x="168" y="1457"/>
                </a:moveTo>
                <a:lnTo>
                  <a:pt x="2089" y="1457"/>
                </a:lnTo>
                <a:lnTo>
                  <a:pt x="2089" y="1228"/>
                </a:lnTo>
                <a:lnTo>
                  <a:pt x="168" y="1228"/>
                </a:lnTo>
                <a:lnTo>
                  <a:pt x="168" y="1457"/>
                </a:lnTo>
                <a:lnTo>
                  <a:pt x="168" y="1457"/>
                </a:lnTo>
                <a:lnTo>
                  <a:pt x="168" y="1457"/>
                </a:lnTo>
                <a:close/>
                <a:moveTo>
                  <a:pt x="168" y="1854"/>
                </a:moveTo>
                <a:lnTo>
                  <a:pt x="2089" y="1854"/>
                </a:lnTo>
                <a:lnTo>
                  <a:pt x="2089" y="1625"/>
                </a:lnTo>
                <a:lnTo>
                  <a:pt x="168" y="1625"/>
                </a:lnTo>
                <a:lnTo>
                  <a:pt x="168" y="1854"/>
                </a:lnTo>
                <a:lnTo>
                  <a:pt x="168" y="1854"/>
                </a:lnTo>
                <a:lnTo>
                  <a:pt x="168" y="1854"/>
                </a:ln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0" rIns="91423" bIns="457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9">
              <a:defRPr/>
            </a:pPr>
            <a:endParaRPr lang="en-US" sz="1765">
              <a:solidFill>
                <a:srgbClr val="000000"/>
              </a:solidFill>
              <a:latin typeface="Segoe UI"/>
            </a:endParaRPr>
          </a:p>
        </p:txBody>
      </p:sp>
      <p:sp>
        <p:nvSpPr>
          <p:cNvPr id="53" name="Freeform 324">
            <a:extLst>
              <a:ext uri="{FF2B5EF4-FFF2-40B4-BE49-F238E27FC236}">
                <a16:creationId xmlns:a16="http://schemas.microsoft.com/office/drawing/2014/main" id="{8DE9A06F-79BF-4C7D-B329-4FA70C57C989}"/>
              </a:ext>
            </a:extLst>
          </p:cNvPr>
          <p:cNvSpPr>
            <a:spLocks noEditPoints="1"/>
          </p:cNvSpPr>
          <p:nvPr/>
        </p:nvSpPr>
        <p:spPr bwMode="auto">
          <a:xfrm>
            <a:off x="5858671" y="5394178"/>
            <a:ext cx="289015" cy="483407"/>
          </a:xfrm>
          <a:custGeom>
            <a:avLst/>
            <a:gdLst>
              <a:gd name="T0" fmla="*/ 2929 w 3010"/>
              <a:gd name="T1" fmla="*/ 0 h 5178"/>
              <a:gd name="T2" fmla="*/ 2257 w 3010"/>
              <a:gd name="T3" fmla="*/ 556 h 5178"/>
              <a:gd name="T4" fmla="*/ 0 w 3010"/>
              <a:gd name="T5" fmla="*/ 556 h 5178"/>
              <a:gd name="T6" fmla="*/ 858 w 3010"/>
              <a:gd name="T7" fmla="*/ 0 h 5178"/>
              <a:gd name="T8" fmla="*/ 2929 w 3010"/>
              <a:gd name="T9" fmla="*/ 0 h 5178"/>
              <a:gd name="T10" fmla="*/ 2929 w 3010"/>
              <a:gd name="T11" fmla="*/ 0 h 5178"/>
              <a:gd name="T12" fmla="*/ 2929 w 3010"/>
              <a:gd name="T13" fmla="*/ 0 h 5178"/>
              <a:gd name="T14" fmla="*/ 2345 w 3010"/>
              <a:gd name="T15" fmla="*/ 601 h 5178"/>
              <a:gd name="T16" fmla="*/ 2345 w 3010"/>
              <a:gd name="T17" fmla="*/ 5178 h 5178"/>
              <a:gd name="T18" fmla="*/ 3010 w 3010"/>
              <a:gd name="T19" fmla="*/ 4319 h 5178"/>
              <a:gd name="T20" fmla="*/ 3010 w 3010"/>
              <a:gd name="T21" fmla="*/ 61 h 5178"/>
              <a:gd name="T22" fmla="*/ 2345 w 3010"/>
              <a:gd name="T23" fmla="*/ 601 h 5178"/>
              <a:gd name="T24" fmla="*/ 2345 w 3010"/>
              <a:gd name="T25" fmla="*/ 601 h 5178"/>
              <a:gd name="T26" fmla="*/ 2345 w 3010"/>
              <a:gd name="T27" fmla="*/ 601 h 5178"/>
              <a:gd name="T28" fmla="*/ 0 w 3010"/>
              <a:gd name="T29" fmla="*/ 646 h 5178"/>
              <a:gd name="T30" fmla="*/ 2257 w 3010"/>
              <a:gd name="T31" fmla="*/ 646 h 5178"/>
              <a:gd name="T32" fmla="*/ 2257 w 3010"/>
              <a:gd name="T33" fmla="*/ 5178 h 5178"/>
              <a:gd name="T34" fmla="*/ 0 w 3010"/>
              <a:gd name="T35" fmla="*/ 5178 h 5178"/>
              <a:gd name="T36" fmla="*/ 0 w 3010"/>
              <a:gd name="T37" fmla="*/ 646 h 5178"/>
              <a:gd name="T38" fmla="*/ 0 w 3010"/>
              <a:gd name="T39" fmla="*/ 646 h 5178"/>
              <a:gd name="T40" fmla="*/ 0 w 3010"/>
              <a:gd name="T41" fmla="*/ 646 h 5178"/>
              <a:gd name="T42" fmla="*/ 168 w 3010"/>
              <a:gd name="T43" fmla="*/ 1060 h 5178"/>
              <a:gd name="T44" fmla="*/ 2089 w 3010"/>
              <a:gd name="T45" fmla="*/ 1060 h 5178"/>
              <a:gd name="T46" fmla="*/ 2089 w 3010"/>
              <a:gd name="T47" fmla="*/ 830 h 5178"/>
              <a:gd name="T48" fmla="*/ 168 w 3010"/>
              <a:gd name="T49" fmla="*/ 830 h 5178"/>
              <a:gd name="T50" fmla="*/ 168 w 3010"/>
              <a:gd name="T51" fmla="*/ 1060 h 5178"/>
              <a:gd name="T52" fmla="*/ 168 w 3010"/>
              <a:gd name="T53" fmla="*/ 1060 h 5178"/>
              <a:gd name="T54" fmla="*/ 168 w 3010"/>
              <a:gd name="T55" fmla="*/ 1060 h 5178"/>
              <a:gd name="T56" fmla="*/ 168 w 3010"/>
              <a:gd name="T57" fmla="*/ 1457 h 5178"/>
              <a:gd name="T58" fmla="*/ 2089 w 3010"/>
              <a:gd name="T59" fmla="*/ 1457 h 5178"/>
              <a:gd name="T60" fmla="*/ 2089 w 3010"/>
              <a:gd name="T61" fmla="*/ 1228 h 5178"/>
              <a:gd name="T62" fmla="*/ 168 w 3010"/>
              <a:gd name="T63" fmla="*/ 1228 h 5178"/>
              <a:gd name="T64" fmla="*/ 168 w 3010"/>
              <a:gd name="T65" fmla="*/ 1457 h 5178"/>
              <a:gd name="T66" fmla="*/ 168 w 3010"/>
              <a:gd name="T67" fmla="*/ 1457 h 5178"/>
              <a:gd name="T68" fmla="*/ 168 w 3010"/>
              <a:gd name="T69" fmla="*/ 1457 h 5178"/>
              <a:gd name="T70" fmla="*/ 168 w 3010"/>
              <a:gd name="T71" fmla="*/ 1854 h 5178"/>
              <a:gd name="T72" fmla="*/ 2089 w 3010"/>
              <a:gd name="T73" fmla="*/ 1854 h 5178"/>
              <a:gd name="T74" fmla="*/ 2089 w 3010"/>
              <a:gd name="T75" fmla="*/ 1625 h 5178"/>
              <a:gd name="T76" fmla="*/ 168 w 3010"/>
              <a:gd name="T77" fmla="*/ 1625 h 5178"/>
              <a:gd name="T78" fmla="*/ 168 w 3010"/>
              <a:gd name="T79" fmla="*/ 1854 h 5178"/>
              <a:gd name="T80" fmla="*/ 168 w 3010"/>
              <a:gd name="T81" fmla="*/ 1854 h 5178"/>
              <a:gd name="T82" fmla="*/ 168 w 3010"/>
              <a:gd name="T83" fmla="*/ 1854 h 5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10" h="5178">
                <a:moveTo>
                  <a:pt x="2929" y="0"/>
                </a:moveTo>
                <a:lnTo>
                  <a:pt x="2257" y="556"/>
                </a:lnTo>
                <a:lnTo>
                  <a:pt x="0" y="556"/>
                </a:lnTo>
                <a:lnTo>
                  <a:pt x="858" y="0"/>
                </a:lnTo>
                <a:lnTo>
                  <a:pt x="2929" y="0"/>
                </a:lnTo>
                <a:lnTo>
                  <a:pt x="2929" y="0"/>
                </a:lnTo>
                <a:lnTo>
                  <a:pt x="2929" y="0"/>
                </a:lnTo>
                <a:close/>
                <a:moveTo>
                  <a:pt x="2345" y="601"/>
                </a:moveTo>
                <a:lnTo>
                  <a:pt x="2345" y="5178"/>
                </a:lnTo>
                <a:lnTo>
                  <a:pt x="3010" y="4319"/>
                </a:lnTo>
                <a:lnTo>
                  <a:pt x="3010" y="61"/>
                </a:lnTo>
                <a:lnTo>
                  <a:pt x="2345" y="601"/>
                </a:lnTo>
                <a:lnTo>
                  <a:pt x="2345" y="601"/>
                </a:lnTo>
                <a:lnTo>
                  <a:pt x="2345" y="601"/>
                </a:lnTo>
                <a:close/>
                <a:moveTo>
                  <a:pt x="0" y="646"/>
                </a:moveTo>
                <a:lnTo>
                  <a:pt x="2257" y="646"/>
                </a:lnTo>
                <a:lnTo>
                  <a:pt x="2257" y="5178"/>
                </a:lnTo>
                <a:lnTo>
                  <a:pt x="0" y="5178"/>
                </a:lnTo>
                <a:lnTo>
                  <a:pt x="0" y="646"/>
                </a:lnTo>
                <a:lnTo>
                  <a:pt x="0" y="646"/>
                </a:lnTo>
                <a:lnTo>
                  <a:pt x="0" y="646"/>
                </a:lnTo>
                <a:close/>
                <a:moveTo>
                  <a:pt x="168" y="1060"/>
                </a:moveTo>
                <a:lnTo>
                  <a:pt x="2089" y="1060"/>
                </a:lnTo>
                <a:lnTo>
                  <a:pt x="2089" y="830"/>
                </a:lnTo>
                <a:lnTo>
                  <a:pt x="168" y="830"/>
                </a:lnTo>
                <a:lnTo>
                  <a:pt x="168" y="1060"/>
                </a:lnTo>
                <a:lnTo>
                  <a:pt x="168" y="1060"/>
                </a:lnTo>
                <a:lnTo>
                  <a:pt x="168" y="1060"/>
                </a:lnTo>
                <a:close/>
                <a:moveTo>
                  <a:pt x="168" y="1457"/>
                </a:moveTo>
                <a:lnTo>
                  <a:pt x="2089" y="1457"/>
                </a:lnTo>
                <a:lnTo>
                  <a:pt x="2089" y="1228"/>
                </a:lnTo>
                <a:lnTo>
                  <a:pt x="168" y="1228"/>
                </a:lnTo>
                <a:lnTo>
                  <a:pt x="168" y="1457"/>
                </a:lnTo>
                <a:lnTo>
                  <a:pt x="168" y="1457"/>
                </a:lnTo>
                <a:lnTo>
                  <a:pt x="168" y="1457"/>
                </a:lnTo>
                <a:close/>
                <a:moveTo>
                  <a:pt x="168" y="1854"/>
                </a:moveTo>
                <a:lnTo>
                  <a:pt x="2089" y="1854"/>
                </a:lnTo>
                <a:lnTo>
                  <a:pt x="2089" y="1625"/>
                </a:lnTo>
                <a:lnTo>
                  <a:pt x="168" y="1625"/>
                </a:lnTo>
                <a:lnTo>
                  <a:pt x="168" y="1854"/>
                </a:lnTo>
                <a:lnTo>
                  <a:pt x="168" y="1854"/>
                </a:lnTo>
                <a:lnTo>
                  <a:pt x="168" y="1854"/>
                </a:ln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0" rIns="91423" bIns="457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9">
              <a:defRPr/>
            </a:pPr>
            <a:endParaRPr lang="en-US" sz="1765">
              <a:solidFill>
                <a:srgbClr val="000000"/>
              </a:solidFill>
              <a:latin typeface="Segoe UI"/>
            </a:endParaRPr>
          </a:p>
        </p:txBody>
      </p:sp>
      <p:sp>
        <p:nvSpPr>
          <p:cNvPr id="54" name="Freeform 325">
            <a:extLst>
              <a:ext uri="{FF2B5EF4-FFF2-40B4-BE49-F238E27FC236}">
                <a16:creationId xmlns:a16="http://schemas.microsoft.com/office/drawing/2014/main" id="{85C7A1B7-F004-4582-BCA7-B8947D742A80}"/>
              </a:ext>
            </a:extLst>
          </p:cNvPr>
          <p:cNvSpPr>
            <a:spLocks noEditPoints="1"/>
          </p:cNvSpPr>
          <p:nvPr/>
        </p:nvSpPr>
        <p:spPr bwMode="auto">
          <a:xfrm>
            <a:off x="6158764" y="5394178"/>
            <a:ext cx="289015" cy="483407"/>
          </a:xfrm>
          <a:custGeom>
            <a:avLst/>
            <a:gdLst>
              <a:gd name="T0" fmla="*/ 2929 w 3010"/>
              <a:gd name="T1" fmla="*/ 0 h 5178"/>
              <a:gd name="T2" fmla="*/ 2257 w 3010"/>
              <a:gd name="T3" fmla="*/ 556 h 5178"/>
              <a:gd name="T4" fmla="*/ 0 w 3010"/>
              <a:gd name="T5" fmla="*/ 556 h 5178"/>
              <a:gd name="T6" fmla="*/ 858 w 3010"/>
              <a:gd name="T7" fmla="*/ 0 h 5178"/>
              <a:gd name="T8" fmla="*/ 2929 w 3010"/>
              <a:gd name="T9" fmla="*/ 0 h 5178"/>
              <a:gd name="T10" fmla="*/ 2929 w 3010"/>
              <a:gd name="T11" fmla="*/ 0 h 5178"/>
              <a:gd name="T12" fmla="*/ 2929 w 3010"/>
              <a:gd name="T13" fmla="*/ 0 h 5178"/>
              <a:gd name="T14" fmla="*/ 2345 w 3010"/>
              <a:gd name="T15" fmla="*/ 601 h 5178"/>
              <a:gd name="T16" fmla="*/ 2345 w 3010"/>
              <a:gd name="T17" fmla="*/ 5178 h 5178"/>
              <a:gd name="T18" fmla="*/ 3010 w 3010"/>
              <a:gd name="T19" fmla="*/ 4319 h 5178"/>
              <a:gd name="T20" fmla="*/ 3010 w 3010"/>
              <a:gd name="T21" fmla="*/ 61 h 5178"/>
              <a:gd name="T22" fmla="*/ 2345 w 3010"/>
              <a:gd name="T23" fmla="*/ 601 h 5178"/>
              <a:gd name="T24" fmla="*/ 2345 w 3010"/>
              <a:gd name="T25" fmla="*/ 601 h 5178"/>
              <a:gd name="T26" fmla="*/ 2345 w 3010"/>
              <a:gd name="T27" fmla="*/ 601 h 5178"/>
              <a:gd name="T28" fmla="*/ 0 w 3010"/>
              <a:gd name="T29" fmla="*/ 646 h 5178"/>
              <a:gd name="T30" fmla="*/ 2257 w 3010"/>
              <a:gd name="T31" fmla="*/ 646 h 5178"/>
              <a:gd name="T32" fmla="*/ 2257 w 3010"/>
              <a:gd name="T33" fmla="*/ 5178 h 5178"/>
              <a:gd name="T34" fmla="*/ 0 w 3010"/>
              <a:gd name="T35" fmla="*/ 5178 h 5178"/>
              <a:gd name="T36" fmla="*/ 0 w 3010"/>
              <a:gd name="T37" fmla="*/ 646 h 5178"/>
              <a:gd name="T38" fmla="*/ 0 w 3010"/>
              <a:gd name="T39" fmla="*/ 646 h 5178"/>
              <a:gd name="T40" fmla="*/ 0 w 3010"/>
              <a:gd name="T41" fmla="*/ 646 h 5178"/>
              <a:gd name="T42" fmla="*/ 168 w 3010"/>
              <a:gd name="T43" fmla="*/ 1060 h 5178"/>
              <a:gd name="T44" fmla="*/ 2089 w 3010"/>
              <a:gd name="T45" fmla="*/ 1060 h 5178"/>
              <a:gd name="T46" fmla="*/ 2089 w 3010"/>
              <a:gd name="T47" fmla="*/ 830 h 5178"/>
              <a:gd name="T48" fmla="*/ 168 w 3010"/>
              <a:gd name="T49" fmla="*/ 830 h 5178"/>
              <a:gd name="T50" fmla="*/ 168 w 3010"/>
              <a:gd name="T51" fmla="*/ 1060 h 5178"/>
              <a:gd name="T52" fmla="*/ 168 w 3010"/>
              <a:gd name="T53" fmla="*/ 1060 h 5178"/>
              <a:gd name="T54" fmla="*/ 168 w 3010"/>
              <a:gd name="T55" fmla="*/ 1060 h 5178"/>
              <a:gd name="T56" fmla="*/ 168 w 3010"/>
              <a:gd name="T57" fmla="*/ 1457 h 5178"/>
              <a:gd name="T58" fmla="*/ 2089 w 3010"/>
              <a:gd name="T59" fmla="*/ 1457 h 5178"/>
              <a:gd name="T60" fmla="*/ 2089 w 3010"/>
              <a:gd name="T61" fmla="*/ 1228 h 5178"/>
              <a:gd name="T62" fmla="*/ 168 w 3010"/>
              <a:gd name="T63" fmla="*/ 1228 h 5178"/>
              <a:gd name="T64" fmla="*/ 168 w 3010"/>
              <a:gd name="T65" fmla="*/ 1457 h 5178"/>
              <a:gd name="T66" fmla="*/ 168 w 3010"/>
              <a:gd name="T67" fmla="*/ 1457 h 5178"/>
              <a:gd name="T68" fmla="*/ 168 w 3010"/>
              <a:gd name="T69" fmla="*/ 1457 h 5178"/>
              <a:gd name="T70" fmla="*/ 168 w 3010"/>
              <a:gd name="T71" fmla="*/ 1854 h 5178"/>
              <a:gd name="T72" fmla="*/ 2089 w 3010"/>
              <a:gd name="T73" fmla="*/ 1854 h 5178"/>
              <a:gd name="T74" fmla="*/ 2089 w 3010"/>
              <a:gd name="T75" fmla="*/ 1625 h 5178"/>
              <a:gd name="T76" fmla="*/ 168 w 3010"/>
              <a:gd name="T77" fmla="*/ 1625 h 5178"/>
              <a:gd name="T78" fmla="*/ 168 w 3010"/>
              <a:gd name="T79" fmla="*/ 1854 h 5178"/>
              <a:gd name="T80" fmla="*/ 168 w 3010"/>
              <a:gd name="T81" fmla="*/ 1854 h 5178"/>
              <a:gd name="T82" fmla="*/ 168 w 3010"/>
              <a:gd name="T83" fmla="*/ 1854 h 5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10" h="5178">
                <a:moveTo>
                  <a:pt x="2929" y="0"/>
                </a:moveTo>
                <a:lnTo>
                  <a:pt x="2257" y="556"/>
                </a:lnTo>
                <a:lnTo>
                  <a:pt x="0" y="556"/>
                </a:lnTo>
                <a:lnTo>
                  <a:pt x="858" y="0"/>
                </a:lnTo>
                <a:lnTo>
                  <a:pt x="2929" y="0"/>
                </a:lnTo>
                <a:lnTo>
                  <a:pt x="2929" y="0"/>
                </a:lnTo>
                <a:lnTo>
                  <a:pt x="2929" y="0"/>
                </a:lnTo>
                <a:close/>
                <a:moveTo>
                  <a:pt x="2345" y="601"/>
                </a:moveTo>
                <a:lnTo>
                  <a:pt x="2345" y="5178"/>
                </a:lnTo>
                <a:lnTo>
                  <a:pt x="3010" y="4319"/>
                </a:lnTo>
                <a:lnTo>
                  <a:pt x="3010" y="61"/>
                </a:lnTo>
                <a:lnTo>
                  <a:pt x="2345" y="601"/>
                </a:lnTo>
                <a:lnTo>
                  <a:pt x="2345" y="601"/>
                </a:lnTo>
                <a:lnTo>
                  <a:pt x="2345" y="601"/>
                </a:lnTo>
                <a:close/>
                <a:moveTo>
                  <a:pt x="0" y="646"/>
                </a:moveTo>
                <a:lnTo>
                  <a:pt x="2257" y="646"/>
                </a:lnTo>
                <a:lnTo>
                  <a:pt x="2257" y="5178"/>
                </a:lnTo>
                <a:lnTo>
                  <a:pt x="0" y="5178"/>
                </a:lnTo>
                <a:lnTo>
                  <a:pt x="0" y="646"/>
                </a:lnTo>
                <a:lnTo>
                  <a:pt x="0" y="646"/>
                </a:lnTo>
                <a:lnTo>
                  <a:pt x="0" y="646"/>
                </a:lnTo>
                <a:close/>
                <a:moveTo>
                  <a:pt x="168" y="1060"/>
                </a:moveTo>
                <a:lnTo>
                  <a:pt x="2089" y="1060"/>
                </a:lnTo>
                <a:lnTo>
                  <a:pt x="2089" y="830"/>
                </a:lnTo>
                <a:lnTo>
                  <a:pt x="168" y="830"/>
                </a:lnTo>
                <a:lnTo>
                  <a:pt x="168" y="1060"/>
                </a:lnTo>
                <a:lnTo>
                  <a:pt x="168" y="1060"/>
                </a:lnTo>
                <a:lnTo>
                  <a:pt x="168" y="1060"/>
                </a:lnTo>
                <a:close/>
                <a:moveTo>
                  <a:pt x="168" y="1457"/>
                </a:moveTo>
                <a:lnTo>
                  <a:pt x="2089" y="1457"/>
                </a:lnTo>
                <a:lnTo>
                  <a:pt x="2089" y="1228"/>
                </a:lnTo>
                <a:lnTo>
                  <a:pt x="168" y="1228"/>
                </a:lnTo>
                <a:lnTo>
                  <a:pt x="168" y="1457"/>
                </a:lnTo>
                <a:lnTo>
                  <a:pt x="168" y="1457"/>
                </a:lnTo>
                <a:lnTo>
                  <a:pt x="168" y="1457"/>
                </a:lnTo>
                <a:close/>
                <a:moveTo>
                  <a:pt x="168" y="1854"/>
                </a:moveTo>
                <a:lnTo>
                  <a:pt x="2089" y="1854"/>
                </a:lnTo>
                <a:lnTo>
                  <a:pt x="2089" y="1625"/>
                </a:lnTo>
                <a:lnTo>
                  <a:pt x="168" y="1625"/>
                </a:lnTo>
                <a:lnTo>
                  <a:pt x="168" y="1854"/>
                </a:lnTo>
                <a:lnTo>
                  <a:pt x="168" y="1854"/>
                </a:lnTo>
                <a:lnTo>
                  <a:pt x="168" y="1854"/>
                </a:ln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3" tIns="45710" rIns="91423" bIns="4571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39">
              <a:defRPr/>
            </a:pPr>
            <a:endParaRPr lang="en-US" sz="1765">
              <a:solidFill>
                <a:srgbClr val="000000"/>
              </a:solidFill>
              <a:latin typeface="Segoe UI"/>
            </a:endParaRPr>
          </a:p>
        </p:txBody>
      </p:sp>
      <p:sp>
        <p:nvSpPr>
          <p:cNvPr id="55" name="TextBox 54">
            <a:extLst>
              <a:ext uri="{FF2B5EF4-FFF2-40B4-BE49-F238E27FC236}">
                <a16:creationId xmlns:a16="http://schemas.microsoft.com/office/drawing/2014/main" id="{99953314-CADD-4764-A115-38D035AA462D}"/>
              </a:ext>
            </a:extLst>
          </p:cNvPr>
          <p:cNvSpPr txBox="1"/>
          <p:nvPr/>
        </p:nvSpPr>
        <p:spPr>
          <a:xfrm>
            <a:off x="655638" y="1408113"/>
            <a:ext cx="924933" cy="825547"/>
          </a:xfrm>
          <a:prstGeom prst="rect">
            <a:avLst/>
          </a:prstGeom>
          <a:noFill/>
        </p:spPr>
        <p:txBody>
          <a:bodyPr wrap="none" lIns="0" tIns="0" rIns="0" bIns="0" rtlCol="0" anchor="t" anchorCtr="0">
            <a:spAutoFit/>
          </a:bodyPr>
          <a:lstStyle/>
          <a:p>
            <a:pPr defTabSz="913923">
              <a:lnSpc>
                <a:spcPct val="90000"/>
              </a:lnSpc>
              <a:defRPr/>
            </a:pPr>
            <a:r>
              <a:rPr lang="en-US" sz="4000" kern="0" spc="-150">
                <a:gradFill flip="none" rotWithShape="1">
                  <a:gsLst>
                    <a:gs pos="1000">
                      <a:srgbClr val="3B2E58"/>
                    </a:gs>
                    <a:gs pos="100000">
                      <a:srgbClr val="682166"/>
                    </a:gs>
                  </a:gsLst>
                  <a:lin ang="5400000" scaled="0"/>
                  <a:tileRect/>
                </a:gradFill>
                <a:latin typeface="+mj-lt"/>
              </a:rPr>
              <a:t>Plan</a:t>
            </a:r>
          </a:p>
          <a:p>
            <a:pPr defTabSz="913923">
              <a:lnSpc>
                <a:spcPct val="90000"/>
              </a:lnSpc>
              <a:defRPr/>
            </a:pPr>
            <a:endParaRPr lang="en-US" sz="1961" kern="0" spc="-60">
              <a:gradFill>
                <a:gsLst>
                  <a:gs pos="1000">
                    <a:srgbClr val="682166"/>
                  </a:gs>
                  <a:gs pos="100000">
                    <a:srgbClr val="682166"/>
                  </a:gs>
                </a:gsLst>
                <a:lin ang="5400000" scaled="0"/>
              </a:gradFill>
              <a:latin typeface="Segoe UI"/>
            </a:endParaRPr>
          </a:p>
        </p:txBody>
      </p:sp>
      <p:sp>
        <p:nvSpPr>
          <p:cNvPr id="56" name="TextBox 55">
            <a:extLst>
              <a:ext uri="{FF2B5EF4-FFF2-40B4-BE49-F238E27FC236}">
                <a16:creationId xmlns:a16="http://schemas.microsoft.com/office/drawing/2014/main" id="{F80B27E6-F264-450B-8078-87473DCBAC04}"/>
              </a:ext>
            </a:extLst>
          </p:cNvPr>
          <p:cNvSpPr txBox="1"/>
          <p:nvPr/>
        </p:nvSpPr>
        <p:spPr>
          <a:xfrm>
            <a:off x="655638" y="5402216"/>
            <a:ext cx="3255699" cy="825547"/>
          </a:xfrm>
          <a:prstGeom prst="rect">
            <a:avLst/>
          </a:prstGeom>
          <a:noFill/>
        </p:spPr>
        <p:txBody>
          <a:bodyPr wrap="none" lIns="0" tIns="0" rIns="0" bIns="0" rtlCol="0" anchor="t" anchorCtr="0">
            <a:spAutoFit/>
          </a:bodyPr>
          <a:lstStyle/>
          <a:p>
            <a:pPr defTabSz="913923">
              <a:lnSpc>
                <a:spcPct val="90000"/>
              </a:lnSpc>
              <a:defRPr/>
            </a:pPr>
            <a:r>
              <a:rPr lang="en-US" sz="4000" kern="0" spc="-150">
                <a:gradFill flip="none" rotWithShape="1">
                  <a:gsLst>
                    <a:gs pos="1000">
                      <a:srgbClr val="3B2E58"/>
                    </a:gs>
                    <a:gs pos="100000">
                      <a:srgbClr val="682166"/>
                    </a:gs>
                  </a:gsLst>
                  <a:lin ang="5400000" scaled="0"/>
                  <a:tileRect/>
                </a:gradFill>
                <a:latin typeface="+mj-lt"/>
              </a:rPr>
              <a:t>Develop + Test</a:t>
            </a:r>
          </a:p>
          <a:p>
            <a:pPr defTabSz="913923">
              <a:lnSpc>
                <a:spcPct val="90000"/>
              </a:lnSpc>
              <a:defRPr/>
            </a:pPr>
            <a:endParaRPr lang="en-US" sz="1961" kern="0" spc="-60">
              <a:gradFill>
                <a:gsLst>
                  <a:gs pos="1000">
                    <a:srgbClr val="682166"/>
                  </a:gs>
                  <a:gs pos="100000">
                    <a:srgbClr val="682166"/>
                  </a:gs>
                </a:gsLst>
                <a:lin ang="5400000" scaled="0"/>
              </a:gradFill>
              <a:latin typeface="Segoe UI"/>
            </a:endParaRPr>
          </a:p>
        </p:txBody>
      </p:sp>
      <p:sp>
        <p:nvSpPr>
          <p:cNvPr id="57" name="TextBox 56">
            <a:extLst>
              <a:ext uri="{FF2B5EF4-FFF2-40B4-BE49-F238E27FC236}">
                <a16:creationId xmlns:a16="http://schemas.microsoft.com/office/drawing/2014/main" id="{634A28C1-7A3B-476E-8D98-73F890CEE344}"/>
              </a:ext>
            </a:extLst>
          </p:cNvPr>
          <p:cNvSpPr txBox="1"/>
          <p:nvPr/>
        </p:nvSpPr>
        <p:spPr>
          <a:xfrm>
            <a:off x="9789089" y="5399716"/>
            <a:ext cx="1747273" cy="828047"/>
          </a:xfrm>
          <a:prstGeom prst="rect">
            <a:avLst/>
          </a:prstGeom>
          <a:noFill/>
        </p:spPr>
        <p:txBody>
          <a:bodyPr wrap="none" lIns="0" tIns="0" rIns="0" bIns="0" rtlCol="0" anchor="t" anchorCtr="0">
            <a:spAutoFit/>
          </a:bodyPr>
          <a:lstStyle/>
          <a:p>
            <a:pPr defTabSz="913923">
              <a:lnSpc>
                <a:spcPct val="90000"/>
              </a:lnSpc>
              <a:defRPr/>
            </a:pPr>
            <a:r>
              <a:rPr lang="en-US" sz="4000" kern="0" spc="-150">
                <a:gradFill flip="none" rotWithShape="1">
                  <a:gsLst>
                    <a:gs pos="1000">
                      <a:srgbClr val="3B2E58"/>
                    </a:gs>
                    <a:gs pos="100000">
                      <a:srgbClr val="682166"/>
                    </a:gs>
                  </a:gsLst>
                  <a:lin ang="5400000" scaled="0"/>
                  <a:tileRect/>
                </a:gradFill>
                <a:latin typeface="+mj-lt"/>
              </a:rPr>
              <a:t>Release</a:t>
            </a:r>
            <a:r>
              <a:rPr lang="en-US" sz="4000" kern="0" spc="-150">
                <a:gradFill flip="none" rotWithShape="1">
                  <a:gsLst>
                    <a:gs pos="1000">
                      <a:srgbClr val="3B2E58"/>
                    </a:gs>
                    <a:gs pos="100000">
                      <a:srgbClr val="682166"/>
                    </a:gs>
                  </a:gsLst>
                  <a:lin ang="5400000" scaled="0"/>
                  <a:tileRect/>
                </a:gradFill>
                <a:latin typeface="Segoe UI Light"/>
              </a:rPr>
              <a:t> </a:t>
            </a:r>
          </a:p>
          <a:p>
            <a:pPr defTabSz="913923">
              <a:lnSpc>
                <a:spcPct val="90000"/>
              </a:lnSpc>
              <a:defRPr/>
            </a:pPr>
            <a:endParaRPr lang="en-US" sz="1961" kern="0" spc="-60">
              <a:gradFill>
                <a:gsLst>
                  <a:gs pos="1000">
                    <a:srgbClr val="682166"/>
                  </a:gs>
                  <a:gs pos="100000">
                    <a:srgbClr val="682166"/>
                  </a:gs>
                </a:gsLst>
                <a:lin ang="5400000" scaled="0"/>
              </a:gradFill>
              <a:latin typeface="Segoe UI"/>
            </a:endParaRPr>
          </a:p>
        </p:txBody>
      </p:sp>
      <p:sp>
        <p:nvSpPr>
          <p:cNvPr id="58" name="TextBox 62">
            <a:extLst>
              <a:ext uri="{FF2B5EF4-FFF2-40B4-BE49-F238E27FC236}">
                <a16:creationId xmlns:a16="http://schemas.microsoft.com/office/drawing/2014/main" id="{44883C59-02AB-4F7C-9A2D-54D9A59736FB}"/>
              </a:ext>
            </a:extLst>
          </p:cNvPr>
          <p:cNvSpPr txBox="1"/>
          <p:nvPr/>
        </p:nvSpPr>
        <p:spPr>
          <a:xfrm>
            <a:off x="3052117" y="3948579"/>
            <a:ext cx="2570656" cy="30777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214">
              <a:defRPr/>
            </a:pPr>
            <a:r>
              <a:rPr lang="en-US" sz="2000" kern="0">
                <a:gradFill>
                  <a:gsLst>
                    <a:gs pos="20354">
                      <a:srgbClr val="000000"/>
                    </a:gs>
                    <a:gs pos="54000">
                      <a:srgbClr val="000000"/>
                    </a:gs>
                  </a:gsLst>
                  <a:lin ang="5400000" scaled="0"/>
                </a:gradFill>
                <a:latin typeface="Segoe UI Light"/>
              </a:rPr>
              <a:t>Development </a:t>
            </a:r>
          </a:p>
        </p:txBody>
      </p:sp>
    </p:spTree>
    <p:custDataLst>
      <p:tags r:id="rId1"/>
    </p:custDataLst>
    <p:extLst>
      <p:ext uri="{BB962C8B-B14F-4D97-AF65-F5344CB8AC3E}">
        <p14:creationId xmlns:p14="http://schemas.microsoft.com/office/powerpoint/2010/main" val="3828729519"/>
      </p:ext>
    </p:extLst>
  </p:cSld>
  <p:clrMapOvr>
    <a:masterClrMapping/>
  </p:clrMapOvr>
  <p:transition spd="slow"/>
</p:sld>
</file>

<file path=ppt/slides/slide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1A7398-7DA4-4966-881D-14DD5A291E7D}"/>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cs typeface="Segoe UI"/>
              </a:rPr>
              <a:t>Introduction To Version / Source Control</a:t>
            </a:r>
          </a:p>
        </p:txBody>
      </p:sp>
      <p:graphicFrame>
        <p:nvGraphicFramePr>
          <p:cNvPr id="7" name="Text Placeholder 4">
            <a:extLst>
              <a:ext uri="{FF2B5EF4-FFF2-40B4-BE49-F238E27FC236}">
                <a16:creationId xmlns:a16="http://schemas.microsoft.com/office/drawing/2014/main" id="{6883DE81-5F56-4F0E-8385-42EFA2CFCD26}"/>
              </a:ext>
            </a:extLst>
          </p:cNvPr>
          <p:cNvGraphicFramePr>
            <a:graphicFrameLocks noGrp="1"/>
          </p:cNvGraphicFramePr>
          <p:nvPr>
            <p:ph sz="quarter" idx="13"/>
            <p:extLst>
              <p:ext uri="{D42A27DB-BD31-4B8C-83A1-F6EECF244321}">
                <p14:modId xmlns:p14="http://schemas.microsoft.com/office/powerpoint/2010/main" val="6703092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487516712"/>
      </p:ext>
    </p:extLst>
  </p:cSld>
  <p:clrMapOvr>
    <a:masterClrMapping/>
  </p:clrMapOvr>
  <p:transition spd="slow"/>
</p:sld>
</file>

<file path=ppt/slides/slide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ACB175-2AB6-46AE-8EF8-AB20A4DE032B}"/>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Types of Version Control</a:t>
            </a:r>
          </a:p>
        </p:txBody>
      </p:sp>
      <p:graphicFrame>
        <p:nvGraphicFramePr>
          <p:cNvPr id="4" name="Diagram 3">
            <a:extLst>
              <a:ext uri="{FF2B5EF4-FFF2-40B4-BE49-F238E27FC236}">
                <a16:creationId xmlns:a16="http://schemas.microsoft.com/office/drawing/2014/main" id="{51785948-0C5B-4E9D-8D54-9CD8C8D625C0}"/>
              </a:ext>
            </a:extLst>
          </p:cNvPr>
          <p:cNvGraphicFramePr/>
          <p:nvPr>
            <p:extLst>
              <p:ext uri="{D42A27DB-BD31-4B8C-83A1-F6EECF244321}">
                <p14:modId xmlns:p14="http://schemas.microsoft.com/office/powerpoint/2010/main" val="1015682437"/>
              </p:ext>
            </p:extLst>
          </p:nvPr>
        </p:nvGraphicFramePr>
        <p:xfrm>
          <a:off x="655638" y="1408113"/>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230423366"/>
      </p:ext>
    </p:extLst>
  </p:cSld>
  <p:clrMapOvr>
    <a:masterClrMapping/>
  </p:clrMapOvr>
  <p:transition spd="slow"/>
</p:sld>
</file>

<file path=ppt/slides/slide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607BBA-0CC4-4590-8998-6FBAB948DFAD}"/>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CI/CD strategy</a:t>
            </a:r>
          </a:p>
        </p:txBody>
      </p:sp>
      <p:graphicFrame>
        <p:nvGraphicFramePr>
          <p:cNvPr id="5" name="Text Placeholder 1">
            <a:extLst>
              <a:ext uri="{FF2B5EF4-FFF2-40B4-BE49-F238E27FC236}">
                <a16:creationId xmlns:a16="http://schemas.microsoft.com/office/drawing/2014/main" id="{11DDC52F-FECC-4A4A-AA9A-0CAB391E5838}"/>
              </a:ext>
            </a:extLst>
          </p:cNvPr>
          <p:cNvGraphicFramePr>
            <a:graphicFrameLocks noGrp="1"/>
          </p:cNvGraphicFramePr>
          <p:nvPr>
            <p:ph sz="quarter" idx="13"/>
            <p:extLst>
              <p:ext uri="{D42A27DB-BD31-4B8C-83A1-F6EECF244321}">
                <p14:modId xmlns:p14="http://schemas.microsoft.com/office/powerpoint/2010/main" val="810224454"/>
              </p:ext>
            </p:extLst>
          </p:nvPr>
        </p:nvGraphicFramePr>
        <p:xfrm>
          <a:off x="655638" y="1408114"/>
          <a:ext cx="10880726" cy="50533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064060944"/>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5E650778-C8AC-4573-A306-08A0C1B81EE5}&lt;/SectionId&gt;&lt;Name&gt;WorkshopPLUS - Windows PowerShell: Tool Building&lt;/Name&gt;&lt;SlidesCount&gt;2&lt;/SlidesCount&gt;&lt;SlideGuids /&gt;&lt;/NativeSection&gt;&lt;NativeSection&gt;&lt;SectionId&gt;{4A87D3EC-2E8C-4697-81FA-94A6B89DA86C}&lt;/SectionId&gt;&lt;Name&gt;Git - Setup&lt;/Name&gt;&lt;SlidesCount&gt;15&lt;/SlidesCount&gt;&lt;SlideGuids /&gt;&lt;/NativeSection&gt;&lt;NativeSection&gt;&lt;SectionId&gt;{8DDB8A01-265F-413F-AD41-37B1A6C6853C}&lt;/SectionId&gt;&lt;Name&gt;Logging into a Git repository&lt;/Name&gt;&lt;SlidesCount&gt;14&lt;/SlidesCount&gt;&lt;SlideGuids /&gt;&lt;/NativeSection&gt;&lt;NativeSection&gt;&lt;SectionId&gt;{86357456-0A99-49FD-82C7-32A36B1F7EA1}&lt;/SectionId&gt;&lt;Name&gt;LAB: Git Introduction&lt;/Name&gt;&lt;SlidesCount&gt;2&lt;/SlidesCount&gt;&lt;SlideGuids /&gt;&lt;/NativeSection&gt;&lt;/ArrayOfNativeSection&gt;"/>
  <p:tag name="MIO_EKGUID" val="3c1ae33d-ca9d-4a21-8f34-a7da9ad83671"/>
  <p:tag name="MIO_UPDATE" val="True"/>
  <p:tag name="MIO_VERSION" val="02.03.2020 12:26:40"/>
  <p:tag name="MIO_DBID" val="12B0C59E-2253-4124-A5E9-470ADF4CB168"/>
  <p:tag name="MIO_LASTDOWNLOADED" val="02.03.2020 13:53:03"/>
  <p:tag name="MIO_OBJECTNAME" val="M07 Git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ec83a6b9-b94d-4370-895f-75c3b2e0123d"/>
  <p:tag name="MIO_EKGUID" val="158063ea-c20b-493e-be3f-86027c0d63ba"/>
  <p:tag name="MIO_UPDATE" val="True"/>
  <p:tag name="MIO_VERSION" val="02.03.2020 12:26:37"/>
  <p:tag name="MIO_DBID" val="12b0c59e-2253-4124-a5e9-470adf4cb168"/>
  <p:tag name="MIO_LASTDOWNLOADED" val="02.03.2020 12:52:57"/>
  <p:tag name="MIO_OBJECTNAME" val="What is DevOp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5691c28c-0dae-4d60-bd40-84fbbfb36e08"/>
  <p:tag name="MIO_EKGUID" val="8e6721c5-2ef3-4395-b3bd-3c104e133079"/>
  <p:tag name="MIO_UPDATE" val="True"/>
  <p:tag name="MIO_VERSION" val="02.03.2020 12:26:37"/>
  <p:tag name="MIO_DBID" val="12b0c59e-2253-4124-a5e9-470adf4cb168"/>
  <p:tag name="MIO_LASTDOWNLOADED" val="02.03.2020 12:52:57"/>
  <p:tag name="MIO_OBJECTNAME" val="DevOps – Deliver Faster, Smarter, and Continuously"/>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6918d8f6-7de9-48bc-a6a8-395f70ccedcd"/>
  <p:tag name="MIO_EKGUID" val="d93ffc68-3e72-451b-a3ea-d7892de64561"/>
  <p:tag name="MIO_UPDATE" val="True"/>
  <p:tag name="MIO_VERSION" val="02.03.2020 12:26:37"/>
  <p:tag name="MIO_DBID" val="12b0c59e-2253-4124-a5e9-470adf4cb168"/>
  <p:tag name="MIO_LASTDOWNLOADED" val="02.03.2020 12:52:57"/>
  <p:tag name="MIO_OBJECTNAME" val="Introduction To Version / Source Control"/>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d6ef626b-f0d4-4c8a-af82-588257a0e8c7"/>
  <p:tag name="MIO_EKGUID" val="7d37cc09-6c1b-49cf-9997-4327a0dd517e"/>
  <p:tag name="MIO_UPDATE" val="True"/>
  <p:tag name="MIO_VERSION" val="02.03.2020 12:26:37"/>
  <p:tag name="MIO_DBID" val="12b0c59e-2253-4124-a5e9-470adf4cb168"/>
  <p:tag name="MIO_LASTDOWNLOADED" val="02.03.2020 12:52:57"/>
  <p:tag name="MIO_OBJECTNAME" val="Types of Version Control"/>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f21eaffa-3570-471b-be29-9c8096705655"/>
  <p:tag name="MIO_EKGUID" val="fe741325-07fd-4530-b0dd-0033557b1037"/>
  <p:tag name="MIO_UPDATE" val="True"/>
  <p:tag name="MIO_VERSION" val="02.03.2020 12:26:37"/>
  <p:tag name="MIO_DBID" val="12b0c59e-2253-4124-a5e9-470adf4cb168"/>
  <p:tag name="MIO_LASTDOWNLOADED" val="02.03.2020 12:52:58"/>
  <p:tag name="MIO_OBJECTNAME" val="CI/CD strategy"/>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81b419a8-7ebd-4371-9c7c-bd6c41851d1e"/>
  <p:tag name="MIO_EKGUID" val="051dc339-8482-4083-bb5c-621d9c9af4b2"/>
  <p:tag name="MIO_UPDATE" val="True"/>
  <p:tag name="MIO_VERSION" val="02.03.2020 12:26:38"/>
  <p:tag name="MIO_DBID" val="12b0c59e-2253-4124-a5e9-470adf4cb168"/>
  <p:tag name="MIO_LASTDOWNLOADED" val="02.03.2020 12:52:58"/>
  <p:tag name="MIO_OBJECTNAME" val="Source Control Management"/>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000f7ccc-0ff6-48e8-93d1-0f7273b03827"/>
  <p:tag name="MIO_EKGUID" val="2bd5da0e-2243-4725-a2ff-c00461dcf7b4"/>
  <p:tag name="MIO_UPDATE" val="True"/>
  <p:tag name="MIO_VERSION" val="02.03.2020 12:26:38"/>
  <p:tag name="MIO_DBID" val="12b0c59e-2253-4124-a5e9-470adf4cb168"/>
  <p:tag name="MIO_LASTDOWNLOADED" val="02.03.2020 12:52:58"/>
  <p:tag name="MIO_OBJECTNAME" val="What is Git?"/>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122d93ac-99fa-4279-9546-20982c3e408d"/>
  <p:tag name="MIO_EKGUID" val="b7f5e9b5-3ccb-4f8d-9b7c-29492e840407"/>
  <p:tag name="MIO_UPDATE" val="True"/>
  <p:tag name="MIO_VERSION" val="02.03.2020 12:26:38"/>
  <p:tag name="MIO_DBID" val="12b0c59e-2253-4124-a5e9-470adf4cb168"/>
  <p:tag name="MIO_LASTDOWNLOADED" val="02.03.2020 12:52:58"/>
  <p:tag name="MIO_OBJECTNAME" val="Challenges of Git"/>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379f6390-b33b-497e-a7f8-3b975d9dc22e"/>
  <p:tag name="MIO_EKGUID" val="044bb234-baf0-49e1-b4f8-d3e3a9b798f9"/>
  <p:tag name="MIO_UPDATE" val="True"/>
  <p:tag name="MIO_VERSION" val="02.03.2020 12:26:38"/>
  <p:tag name="MIO_DBID" val="12b0c59e-2253-4124-a5e9-470adf4cb168"/>
  <p:tag name="MIO_LASTDOWNLOADED" val="02.03.2020 12:52:58"/>
  <p:tag name="MIO_OBJECTNAME" val="Git Commits"/>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faa98ae1-2291-4bef-bd19-33703a7fc314"/>
  <p:tag name="MIO_EKGUID" val="08ab2348-473f-4cb2-a62c-9ac7466f8d1d"/>
  <p:tag name="MIO_UPDATE" val="True"/>
  <p:tag name="MIO_VERSION" val="02.03.2020 12:26:38"/>
  <p:tag name="MIO_DBID" val="12b0c59e-2253-4124-a5e9-470adf4cb168"/>
  <p:tag name="MIO_LASTDOWNLOADED" val="02.03.2020 12:52:58"/>
  <p:tag name="MIO_OBJECTNAME" val="Git Setup"/>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c36ed3bf-5962-4b81-9afe-7412b9681f89"/>
  <p:tag name="MIO_EKGUID" val="cf906a15-b067-48ef-96e3-4b1f3c347fe9"/>
  <p:tag name="MIO_UPDATE" val="True"/>
  <p:tag name="MIO_VERSION" val="02.03.2020 12:26:38"/>
  <p:tag name="MIO_DBID" val="12b0c59e-2253-4124-a5e9-470adf4cb168"/>
  <p:tag name="MIO_LASTDOWNLOADED" val="02.03.2020 12:52:58"/>
  <p:tag name="MIO_OBJECTNAME" val="Git Structure"/>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661164fe-22e9-405f-abd7-42ee77fa19bd"/>
  <p:tag name="MIO_EKGUID" val="09347986-9a69-4c9c-81ef-4b77a80a3193"/>
  <p:tag name="MIO_UPDATE" val="True"/>
  <p:tag name="MIO_VERSION" val="02.03.2020 12:26:38"/>
  <p:tag name="MIO_DBID" val="12b0c59e-2253-4124-a5e9-470adf4cb168"/>
  <p:tag name="MIO_LASTDOWNLOADED" val="02.03.2020 12:52:58"/>
  <p:tag name="MIO_OBJECTNAME" val="Git Layers"/>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1c3be0ac-6836-4a7a-8f97-adc2d49f5a85"/>
  <p:tag name="MIO_EKGUID" val="4ee49dee-ac80-4454-96c9-a63dc4001e1c"/>
  <p:tag name="MIO_UPDATE" val="True"/>
  <p:tag name="MIO_VERSION" val="02.03.2020 12:26:38"/>
  <p:tag name="MIO_DBID" val="12b0c59e-2253-4124-a5e9-470adf4cb168"/>
  <p:tag name="MIO_LASTDOWNLOADED" val="02.03.2020 12:52:58"/>
  <p:tag name="MIO_OBJECTNAME" val="Git Process"/>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97a07a79-afab-4571-b5a2-7618ab2df160"/>
  <p:tag name="MIO_EKGUID" val="16f529d4-7a76-4662-8d43-bdd9762b53e2"/>
  <p:tag name="MIO_UPDATE" val="True"/>
  <p:tag name="MIO_VERSION" val="02.03.2020 12:26:38"/>
  <p:tag name="MIO_DBID" val="12b0c59e-2253-4124-a5e9-470adf4cb168"/>
  <p:tag name="MIO_LASTDOWNLOADED" val="02.03.2020 12:52:58"/>
  <p:tag name="MIO_OBJECTNAME" val="Logging into a Git Repository"/>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c4c46dcb-be4f-4bc0-a5bc-e368d2927d76"/>
  <p:tag name="MIO_EKGUID" val="cb8ffa5f-1555-4407-ac3b-966cacc50819"/>
  <p:tag name="MIO_UPDATE" val="True"/>
  <p:tag name="MIO_VERSION" val="02.03.2020 12:26:38"/>
  <p:tag name="MIO_DBID" val="12b0c59e-2253-4124-a5e9-470adf4cb168"/>
  <p:tag name="MIO_LASTDOWNLOADED" val="02.03.2020 12:52:59"/>
  <p:tag name="MIO_OBJECTNAME" val="Repositorie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10a46466-7038-4977-8bf9-9c495aafe56d"/>
  <p:tag name="MIO_EKGUID" val="e9cc27b6-59b8-40e9-adeb-b58e0e83b6ba"/>
  <p:tag name="MIO_UPDATE" val="True"/>
  <p:tag name="MIO_VERSION" val="02.03.2020 12:26:38"/>
  <p:tag name="MIO_DBID" val="12b0c59e-2253-4124-a5e9-470adf4cb168"/>
  <p:tag name="MIO_LASTDOWNLOADED" val="02.03.2020 12:52:59"/>
  <p:tag name="MIO_OBJECTNAME" val="Git vs. GitHub"/>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fd04bcb5-0d5e-45cb-a5cc-6eb990113b5b"/>
  <p:tag name="MIO_EKGUID" val="8d24d0d6-f3db-4244-af35-0ed9773f7439"/>
  <p:tag name="MIO_UPDATE" val="True"/>
  <p:tag name="MIO_VERSION" val="02.03.2020 12:26:38"/>
  <p:tag name="MIO_DBID" val="12b0c59e-2253-4124-a5e9-470adf4cb168"/>
  <p:tag name="MIO_LASTDOWNLOADED" val="02.03.2020 12:52:59"/>
  <p:tag name="MIO_OBJECTNAME" val="Create Repository"/>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cd1a84bc-9937-4a28-b77d-d18027304a8d"/>
  <p:tag name="MIO_EKGUID" val="a3c39ff2-540d-40d1-a923-10ac0eca11a3"/>
  <p:tag name="MIO_UPDATE" val="True"/>
  <p:tag name="MIO_VERSION" val="02.03.2020 12:26:38"/>
  <p:tag name="MIO_DBID" val="12b0c59e-2253-4124-a5e9-470adf4cb168"/>
  <p:tag name="MIO_LASTDOWNLOADED" val="02.03.2020 12:52:59"/>
  <p:tag name="MIO_OBJECTNAME" val="Workspace / Staging Area"/>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73421a3e-22d9-492d-adc4-80d595e1fa71"/>
  <p:tag name="MIO_EKGUID" val="99c6370b-6862-4860-a16a-b527d266f394"/>
  <p:tag name="MIO_UPDATE" val="True"/>
  <p:tag name="MIO_VERSION" val="02.03.2020 12:26:38"/>
  <p:tag name="MIO_DBID" val="12b0c59e-2253-4124-a5e9-470adf4cb168"/>
  <p:tag name="MIO_LASTDOWNLOADED" val="02.03.2020 12:52:59"/>
  <p:tag name="MIO_OBJECTNAME" val="Adding Content to Staging Area"/>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4d35412f-308b-4d3d-8f9c-7e9c565bac42"/>
  <p:tag name="MIO_EKGUID" val="43a2e526-fe24-40aa-8744-6bff7bdee794"/>
  <p:tag name="MIO_UPDATE" val="True"/>
  <p:tag name="MIO_VERSION" val="02.03.2020 12:26:39"/>
  <p:tag name="MIO_DBID" val="12b0c59e-2253-4124-a5e9-470adf4cb168"/>
  <p:tag name="MIO_LASTDOWNLOADED" val="02.03.2020 12:52:59"/>
  <p:tag name="MIO_OBJECTNAME" val="Removing Staging Area Content"/>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3fa21913-02c3-42c6-a287-143624826874"/>
  <p:tag name="MIO_EKGUID" val="4a63256b-3476-4a28-9850-9dfababac41d"/>
  <p:tag name="MIO_UPDATE" val="True"/>
  <p:tag name="MIO_VERSION" val="02.03.2020 12:26:39"/>
  <p:tag name="MIO_DBID" val="12b0c59e-2253-4124-a5e9-470adf4cb168"/>
  <p:tag name="MIO_LASTDOWNLOADED" val="02.03.2020 12:52:59"/>
  <p:tag name="MIO_OBJECTNAME" val="Commit"/>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5c0707e4-f3cc-475d-b45c-5afa1d8ce584"/>
  <p:tag name="MIO_EKGUID" val="01e2cafe-0f30-45bb-b278-82c1e29802d2"/>
  <p:tag name="MIO_UPDATE" val="True"/>
  <p:tag name="MIO_VERSION" val="02.03.2020 12:26:39"/>
  <p:tag name="MIO_DBID" val="12b0c59e-2253-4124-a5e9-470adf4cb168"/>
  <p:tag name="MIO_LASTDOWNLOADED" val="02.03.2020 12:52:59"/>
  <p:tag name="MIO_OBJECTNAME" val="Commit - Under the Hood"/>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f047c8e2-1f72-49c9-a81c-fabdebef71c9"/>
  <p:tag name="MIO_EKGUID" val="e4e63baf-84f1-490c-87b9-5b1ce3c2a30a"/>
  <p:tag name="MIO_UPDATE" val="True"/>
  <p:tag name="MIO_VERSION" val="02.03.2020 12:26:39"/>
  <p:tag name="MIO_DBID" val="12b0c59e-2253-4124-a5e9-470adf4cb168"/>
  <p:tag name="MIO_LASTDOWNLOADED" val="02.03.2020 12:52:59"/>
  <p:tag name="MIO_OBJECTNAME" val="Committing Changes"/>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1366395d-d52b-443b-b0d5-9eb2f6999f76"/>
  <p:tag name="MIO_EKGUID" val="4147e6a8-c625-490c-b005-873373eef196"/>
  <p:tag name="MIO_UPDATE" val="True"/>
  <p:tag name="MIO_VERSION" val="02.03.2020 12:26:39"/>
  <p:tag name="MIO_DBID" val="12b0c59e-2253-4124-a5e9-470adf4cb168"/>
  <p:tag name="MIO_LASTDOWNLOADED" val="02.03.2020 12:52:59"/>
  <p:tag name="MIO_OBJECTNAME" val="Viewing History"/>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108e5755-5de8-47c4-8346-035985de3e34"/>
  <p:tag name="MIO_EKGUID" val="8680109b-29d5-41f6-886a-514840fc7c81"/>
  <p:tag name="MIO_UPDATE" val="True"/>
  <p:tag name="MIO_VERSION" val="02.03.2020 12:26:39"/>
  <p:tag name="MIO_DBID" val="12b0c59e-2253-4124-a5e9-470adf4cb168"/>
  <p:tag name="MIO_LASTDOWNLOADED" val="02.03.2020 12:53:00"/>
  <p:tag name="MIO_OBJECTNAME" val="History Options"/>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5:21:37"/>
  <p:tag name="MIO_OBJECTNAME" val="Code Box"/>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31a6b9c6-0417-48c6-983b-cf7b578fe3cb"/>
  <p:tag name="MIO_EKGUID" val="54862664-83ad-4c4b-8858-d42310b19adc"/>
  <p:tag name="MIO_UPDATE" val="True"/>
  <p:tag name="MIO_VERSION" val="02.03.2020 12:26:39"/>
  <p:tag name="MIO_DBID" val="12b0c59e-2253-4124-a5e9-470adf4cb168"/>
  <p:tag name="MIO_LASTDOWNLOADED" val="02.03.2020 12:53:00"/>
  <p:tag name="MIO_OBJECTNAME" val="History Options Cont."/>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351b76-bdd0-47b8-b007-ab92bbabf12f"/>
  <p:tag name="MIO_UPDATE" val="True"/>
  <p:tag name="MIO_VERSION" val="02.03.2020 12:26:39"/>
  <p:tag name="MIO_DBID" val="12b0c59e-2253-4124-a5e9-470adf4cb168"/>
  <p:tag name="MIO_LASTDOWNLOADED" val="02.03.2020 12:53:00"/>
  <p:tag name="MIO_OBJECTNAME" val="Demonstration"/>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32"/>
  <p:tag name="MIO_OBJECTNAME" val="EDU19_HigherEdComputerLab_007"/>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ce7f5387-80d3-4b02-b28c-7e47638c7fa2"/>
  <p:tag name="MIO_UPDATE" val="True"/>
  <p:tag name="MIO_VERSION" val="02.03.2020 12:26:39"/>
  <p:tag name="MIO_DBID" val="12b0c59e-2253-4124-a5e9-470adf4cb168"/>
  <p:tag name="MIO_LASTDOWNLOADED" val="02.03.2020 12:53:00"/>
  <p:tag name="MIO_OBJECTNAME" val="Git – Introduction(30 minutes)"/>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a1559c80-ee06-4546-b854-ff4b9ea9926b"/>
  <p:tag name="MIO_EKGUID" val="f482819b-8b34-4946-a2ab-40a924a4d5b4"/>
  <p:tag name="MIO_UPDATE" val="True"/>
  <p:tag name="MIO_VERSION" val="02.03.2020 12:26:40"/>
  <p:tag name="MIO_DBID" val="12b0c59e-2253-4124-a5e9-470adf4cb168"/>
  <p:tag name="MIO_LASTDOWNLOADED" val="02.03.2020 12:53:00"/>
  <p:tag name="MIO_OBJECTNAME" val="Slide 33"/>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37:00"/>
  <p:tag name="MIO_OBJECTNAME" val="Light Grey"/>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GUID" val="f178a8ac-31a4-4946-8ca9-652cf6f10c20"/>
  <p:tag name="MIO_EKGUID" val="0fc23dc0-688a-46ef-842c-62bb0f964ebb"/>
  <p:tag name="MIO_UPDATE" val="True"/>
  <p:tag name="MIO_VERSION" val="02.03.2020 12:26:37"/>
  <p:tag name="MIO_DBID" val="12b0c59e-2253-4124-a5e9-470adf4cb168"/>
  <p:tag name="MIO_LASTDOWNLOADED" val="02.03.2020 12:52:57"/>
  <p:tag name="MIO_OBJECTNAME" val="Git – Introduction"/>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0b6cca31-c5f4-414f-b654-eaf1c2af9196"/>
  <p:tag name="MIO_EKGUID" val="3c6fb971-6c4e-457f-919d-64f5a1b22eb3"/>
  <p:tag name="MIO_UPDATE" val="True"/>
  <p:tag name="MIO_VERSION" val="02.03.2020 12:26:37"/>
  <p:tag name="MIO_DBID" val="12b0c59e-2253-4124-a5e9-470adf4cb168"/>
  <p:tag name="MIO_LASTDOWNLOADED" val="02.03.2020 12:52:57"/>
  <p:tag name="MIO_OBJECTNAME" val="Slide 2"/>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f17cb3b3-92af-4df8-8637-7853efc5e887"/>
  <p:tag name="MIO_EKGUID" val="2ee40cb9-732a-4353-9ff0-df2449afe211"/>
  <p:tag name="MIO_UPDATE" val="True"/>
  <p:tag name="MIO_VERSION" val="02.03.2020 12:26:37"/>
  <p:tag name="MIO_DBID" val="12b0c59e-2253-4124-a5e9-470adf4cb168"/>
  <p:tag name="MIO_LASTDOWNLOADED" val="02.03.2020 12:52:57"/>
  <p:tag name="MIO_OBJECTNAME" val="Git setup"/>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6762758a-b3c7-4845-bab7-8a22d77a432e"/>
  <p:tag name="MIO_EKGUID" val="873df6b7-f1d3-4e98-bc9a-1ebdeb94ca10"/>
  <p:tag name="MIO_UPDATE" val="True"/>
  <p:tag name="MIO_VERSION" val="02.03.2020 12:26:37"/>
  <p:tag name="MIO_DBID" val="12b0c59e-2253-4124-a5e9-470adf4cb168"/>
  <p:tag name="MIO_LASTDOWNLOADED" val="02.03.2020 12:52:57"/>
  <p:tag name="MIO_OBJECTNAME" val="Scenario overview"/>
  <p:tag name="MIO_LASTEDITORNAME" val="Devid Treuling"/>
</p:tagLst>
</file>

<file path=ppt/theme/theme1.xml><?xml version="1.0" encoding="utf-8"?>
<a:theme xmlns:thm15="http://schemas.microsoft.com/office/thememl/2012/main"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cea7764e-6bf9-427d-be15-e74097e0a61c" xsi:nil="true"/>
    <Sign_x002d_off_x0020_status xmlns="cea7764e-6bf9-427d-be15-e74097e0a61c" xsi:nil="true"/>
    <Title_x0020_URL xmlns="cea7764e-6bf9-427d-be15-e74097e0a61c">
      <Url>https://sirona.visualstudio.com/_workitems/edit/41659</Url>
      <Description>https://sirona.visualstudio.com/_workitems/edit/41659</Description>
    </Title_x0020_URL>
    <Mail_x0020_Sent xmlns="cea7764e-6bf9-427d-be15-e74097e0a61c">false</Mail_x0020_Sent>
    <_Flow_SignoffStatus xmlns="cea7764e-6bf9-427d-be15-e74097e0a61c" xsi:nil="true"/>
    <Comments xmlns="cea7764e-6bf9-427d-be15-e74097e0a61c" xsi:nil="true"/>
    <Lead_x0020_Signoff xmlns="cea7764e-6bf9-427d-be15-e74097e0a61c">false</Lead_x0020_Signoff>
    <Title_x0020_ID xmlns="cea7764e-6bf9-427d-be15-e74097e0a61c">41659</Title_x0020_ID>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2" ma:contentTypeDescription="Create a new document." ma:contentTypeScope="" ma:versionID="411f8dbfa59cee283d63b31959e752b1">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492dae4bbc73fa3e5f26ae1920f661a0"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_Flow_SignoffStatus" minOccurs="0"/>
                <xsd:element ref="ns2:MediaServiceDateTaken" minOccurs="0"/>
                <xsd:element ref="ns2:Lead_x0020_Signof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_Flow_SignoffStatus" ma:index="25" nillable="true" ma:displayName="Sign-off status" ma:hidden="true" ma:internalName="Sign_x002d_off_x0020_status0" ma:readOnly="fals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Lead_x0020_Signoff" ma:index="27" nillable="true" ma:displayName="Lead Signoff" ma:default="0" ma:internalName="Lead_x0020_Signoff">
      <xsd:simpleType>
        <xsd:restriction base="dms:Boolean"/>
      </xsd:simpleType>
    </xsd:element>
    <xsd:element name="MediaServiceLocation" ma:index="2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 ds:uri="fa9ac045-4823-4e55-900e-1aa609c35a06"/>
    <ds:schemaRef ds:uri="cea7764e-6bf9-427d-be15-e74097e0a61c"/>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519B1441-A210-4012-A138-D348AD963C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a7764e-6bf9-427d-be15-e74097e0a61c"/>
    <ds:schemaRef ds:uri="fb9ea31f-0ab8-44ff-80d1-5777f6d9d9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TotalTime>
  <Words>2139</Words>
  <Application>Microsoft Office PowerPoint</Application>
  <PresentationFormat>Widescreen</PresentationFormat>
  <Paragraphs>359</Paragraphs>
  <Slides>33</Slides>
  <Notes>23</Notes>
  <HiddenSlides>1</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3</vt:i4>
      </vt:variant>
    </vt:vector>
  </HeadingPairs>
  <TitlesOfParts>
    <vt:vector size="44" baseType="lpstr">
      <vt:lpstr>Arial</vt:lpstr>
      <vt:lpstr>Calibri</vt:lpstr>
      <vt:lpstr>Calibri Light</vt:lpstr>
      <vt:lpstr>Comic Sans MS</vt:lpstr>
      <vt:lpstr>Consolas</vt:lpstr>
      <vt:lpstr>Lucida Console</vt:lpstr>
      <vt:lpstr>Segoe UI</vt:lpstr>
      <vt:lpstr>Segoe UI Light</vt:lpstr>
      <vt:lpstr>Segoe UI Semibold</vt:lpstr>
      <vt:lpstr>Wingdings</vt:lpstr>
      <vt:lpstr>Light Grey</vt:lpstr>
      <vt:lpstr>Git – Introduction</vt:lpstr>
      <vt:lpstr>PowerPoint Presentation</vt:lpstr>
      <vt:lpstr>Git setup</vt:lpstr>
      <vt:lpstr>Scenario overview</vt:lpstr>
      <vt:lpstr>What is DevOps?</vt:lpstr>
      <vt:lpstr>DevOps – Deliver Faster, Smarter, and Continuously </vt:lpstr>
      <vt:lpstr>Introduction To Version / Source Control</vt:lpstr>
      <vt:lpstr>Types of Version Control</vt:lpstr>
      <vt:lpstr>CI/CD strategy</vt:lpstr>
      <vt:lpstr>Source Control Management </vt:lpstr>
      <vt:lpstr>What is Git?</vt:lpstr>
      <vt:lpstr>Challenges of Git</vt:lpstr>
      <vt:lpstr>Git Commits</vt:lpstr>
      <vt:lpstr>Git Setup</vt:lpstr>
      <vt:lpstr>Git Structure</vt:lpstr>
      <vt:lpstr>Git Layers</vt:lpstr>
      <vt:lpstr>Git Process</vt:lpstr>
      <vt:lpstr>Logging into a Git Repository</vt:lpstr>
      <vt:lpstr>Repositories</vt:lpstr>
      <vt:lpstr>Git vs. GitHub</vt:lpstr>
      <vt:lpstr>Create Repository</vt:lpstr>
      <vt:lpstr>Workspace / Staging Area</vt:lpstr>
      <vt:lpstr>Adding Content to Staging Area</vt:lpstr>
      <vt:lpstr>Removing Staging Area Content</vt:lpstr>
      <vt:lpstr>Commit</vt:lpstr>
      <vt:lpstr>Commit - Under the Hood</vt:lpstr>
      <vt:lpstr>Committing Changes</vt:lpstr>
      <vt:lpstr>Viewing History</vt:lpstr>
      <vt:lpstr>History Options</vt:lpstr>
      <vt:lpstr>History Options Cont.</vt:lpstr>
      <vt:lpstr>Demonstration</vt:lpstr>
      <vt:lpstr>Git – Introduction (30 minutes)</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Advanced Services Delivery</dc:creator>
  <lastModifiedBy>Advanced Services Delivery</lastModifiedBy>
  <revision>40</revision>
  <dcterms:created xsi:type="dcterms:W3CDTF">2019-12-16T16:07:11.0000000Z</dcterms:created>
  <dcterms:modified xsi:type="dcterms:W3CDTF">2020-03-02T12:53:23.0000000Z</dcterms:modified>
  <keywords>2002</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MSIP_Label_f42aa342-8706-4288-bd11-ebb85995028c_Enabled">
    <vt:lpwstr>True</vt:lpwstr>
  </op:property>
  <op:property fmtid="{D5CDD505-2E9C-101B-9397-08002B2CF9AE}" pid="3" name="MSIP_Label_f42aa342-8706-4288-bd11-ebb85995028c_SiteId">
    <vt:lpwstr>72f988bf-86f1-41af-91ab-2d7cd011db47</vt:lpwstr>
  </op:property>
  <op:property fmtid="{D5CDD505-2E9C-101B-9397-08002B2CF9AE}" pid="4" name="MSIP_Label_f42aa342-8706-4288-bd11-ebb85995028c_Owner">
    <vt:lpwstr/>
  </op:property>
  <op:property fmtid="{D5CDD505-2E9C-101B-9397-08002B2CF9AE}" pid="5" name="MSIP_Label_f42aa342-8706-4288-bd11-ebb85995028c_SetDate">
    <vt:lpwstr>2019-12-16T16:10:56.2541824Z</vt:lpwstr>
  </op:property>
  <op:property fmtid="{D5CDD505-2E9C-101B-9397-08002B2CF9AE}" pid="6" name="MSIP_Label_f42aa342-8706-4288-bd11-ebb85995028c_Name">
    <vt:lpwstr>General</vt:lpwstr>
  </op:property>
  <op:property fmtid="{D5CDD505-2E9C-101B-9397-08002B2CF9AE}" pid="7" name="MSIP_Label_f42aa342-8706-4288-bd11-ebb85995028c_Application">
    <vt:lpwstr>Microsoft Azure Information Protection</vt:lpwstr>
  </op:property>
  <op:property fmtid="{D5CDD505-2E9C-101B-9397-08002B2CF9AE}" pid="8" name="MSIP_Label_f42aa342-8706-4288-bd11-ebb85995028c_ActionId">
    <vt:lpwstr>b3b6dc2e-4089-4c6e-bcdb-947401663326</vt:lpwstr>
  </op:property>
  <op:property fmtid="{D5CDD505-2E9C-101B-9397-08002B2CF9AE}" pid="9" name="MSIP_Label_f42aa342-8706-4288-bd11-ebb85995028c_Extended_MSFT_Method">
    <vt:lpwstr>Automatic</vt:lpwstr>
  </op:property>
  <op:property fmtid="{D5CDD505-2E9C-101B-9397-08002B2CF9AE}" pid="10" name="Sensitivity">
    <vt:lpwstr>General</vt:lpwstr>
  </op:property>
  <op:property fmtid="{D5CDD505-2E9C-101B-9397-08002B2CF9AE}" pid="11" name="ContentTypeId">
    <vt:lpwstr>0x01010039A62E282DDA434E979CD3E03185182E</vt:lpwstr>
  </op:property>
</op:Properties>
</file>